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rts/chart8.xml" ContentType="application/vnd.openxmlformats-officedocument.drawingml.chart+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2.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67" r:id="rId4"/>
    <p:sldMasterId id="2147483857" r:id="rId5"/>
    <p:sldMasterId id="2147483888" r:id="rId6"/>
    <p:sldMasterId id="2147483919" r:id="rId7"/>
  </p:sldMasterIdLst>
  <p:notesMasterIdLst>
    <p:notesMasterId r:id="rId18"/>
  </p:notesMasterIdLst>
  <p:handoutMasterIdLst>
    <p:handoutMasterId r:id="rId19"/>
  </p:handoutMasterIdLst>
  <p:sldIdLst>
    <p:sldId id="307" r:id="rId8"/>
    <p:sldId id="306" r:id="rId9"/>
    <p:sldId id="302" r:id="rId10"/>
    <p:sldId id="311" r:id="rId11"/>
    <p:sldId id="301" r:id="rId12"/>
    <p:sldId id="258" r:id="rId13"/>
    <p:sldId id="260" r:id="rId14"/>
    <p:sldId id="263" r:id="rId15"/>
    <p:sldId id="261" r:id="rId16"/>
    <p:sldId id="259" r:id="rId17"/>
  </p:sldIdLst>
  <p:sldSz cx="12192000" cy="6858000"/>
  <p:notesSz cx="6858000" cy="9144000"/>
  <p:embeddedFontLst>
    <p:embeddedFont>
      <p:font typeface="Calibri" panose="020F0502020204030204" pitchFamily="34" charset="0"/>
      <p:regular r:id="rId20"/>
      <p:bold r:id="rId21"/>
      <p:italic r:id="rId22"/>
      <p:boldItalic r:id="rId23"/>
    </p:embeddedFont>
  </p:embeddedFontLst>
  <p:custDataLst>
    <p:tags r:id="rId2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ASHBOARD" id="{89976F01-A1D7-4E95-B12F-577068E4C89F}">
          <p14:sldIdLst>
            <p14:sldId id="307"/>
            <p14:sldId id="306"/>
            <p14:sldId id="302"/>
            <p14:sldId id="311"/>
            <p14:sldId id="301"/>
          </p14:sldIdLst>
        </p14:section>
        <p14:section name="Tables" id="{87416D69-FE67-46C3-8DAB-B46640599577}">
          <p14:sldIdLst>
            <p14:sldId id="258"/>
            <p14:sldId id="260"/>
            <p14:sldId id="263"/>
            <p14:sldId id="261"/>
            <p14:sldId id="259"/>
          </p14:sldIdLst>
        </p14:section>
      </p14:sectionLst>
    </p:ext>
    <p:ext uri="{EFAFB233-063F-42B5-8137-9DF3F51BA10A}">
      <p15:sldGuideLst xmlns:p15="http://schemas.microsoft.com/office/powerpoint/2012/main">
        <p15:guide id="2" orient="horz" pos="391" userDrawn="1">
          <p15:clr>
            <a:srgbClr val="A4A3A4"/>
          </p15:clr>
        </p15:guide>
        <p15:guide id="5" orient="horz" pos="3974" userDrawn="1">
          <p15:clr>
            <a:srgbClr val="A4A3A4"/>
          </p15:clr>
        </p15:guide>
        <p15:guide id="7" pos="3840" userDrawn="1">
          <p15:clr>
            <a:srgbClr val="A4A3A4"/>
          </p15:clr>
        </p15:guide>
        <p15:guide id="8" pos="257" userDrawn="1">
          <p15:clr>
            <a:srgbClr val="A4A3A4"/>
          </p15:clr>
        </p15:guide>
        <p15:guide id="9" orient="horz" pos="2160" userDrawn="1">
          <p15:clr>
            <a:srgbClr val="A4A3A4"/>
          </p15:clr>
        </p15:guide>
        <p15:guide id="10" pos="370" userDrawn="1">
          <p15:clr>
            <a:srgbClr val="A4A3A4"/>
          </p15:clr>
        </p15:guide>
        <p15:guide id="11" pos="742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OVENCHERE Sandrine" initials="PS" lastIdx="3" clrIdx="0">
    <p:extLst>
      <p:ext uri="{19B8F6BF-5375-455C-9EA6-DF929625EA0E}">
        <p15:presenceInfo xmlns:p15="http://schemas.microsoft.com/office/powerpoint/2012/main" userId="PROVENCHERE Sandrin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396B4"/>
    <a:srgbClr val="F9ADB0"/>
    <a:srgbClr val="FAB8BA"/>
    <a:srgbClr val="F99093"/>
    <a:srgbClr val="F9F9F9"/>
    <a:srgbClr val="D4D5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BB9380-C3A6-4BB1-BECC-68ED57B5A022}" v="298" dt="2022-01-12T09:55:36.614"/>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81" autoAdjust="0"/>
    <p:restoredTop sz="96567" autoAdjust="0"/>
  </p:normalViewPr>
  <p:slideViewPr>
    <p:cSldViewPr snapToGrid="0">
      <p:cViewPr varScale="1">
        <p:scale>
          <a:sx n="109" d="100"/>
          <a:sy n="109" d="100"/>
        </p:scale>
        <p:origin x="78" y="138"/>
      </p:cViewPr>
      <p:guideLst>
        <p:guide orient="horz" pos="391"/>
        <p:guide orient="horz" pos="3974"/>
        <p:guide pos="3840"/>
        <p:guide pos="257"/>
        <p:guide orient="horz" pos="2160"/>
        <p:guide pos="370"/>
        <p:guide pos="7423"/>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766"/>
    </p:cViewPr>
  </p:sorterViewPr>
  <p:notesViewPr>
    <p:cSldViewPr snapToGrid="0">
      <p:cViewPr varScale="1">
        <p:scale>
          <a:sx n="85" d="100"/>
          <a:sy n="85" d="100"/>
        </p:scale>
        <p:origin x="308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2.fntdata"/><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font" Target="fonts/font1.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4.fntdata"/><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handoutMaster" Target="handoutMasters/handoutMaster1.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font" Target="fonts/font3.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OVENCHERE Sandrine" userId="ad1decff-d2ce-4d29-9d90-3591b80bc438" providerId="ADAL" clId="{A1BB9380-C3A6-4BB1-BECC-68ED57B5A022}"/>
    <pc:docChg chg="undo redo custSel modSld">
      <pc:chgData name="PROVENCHERE Sandrine" userId="ad1decff-d2ce-4d29-9d90-3591b80bc438" providerId="ADAL" clId="{A1BB9380-C3A6-4BB1-BECC-68ED57B5A022}" dt="2022-01-12T09:57:19.826" v="2763" actId="20577"/>
      <pc:docMkLst>
        <pc:docMk/>
      </pc:docMkLst>
      <pc:sldChg chg="addSp delSp modSp mod">
        <pc:chgData name="PROVENCHERE Sandrine" userId="ad1decff-d2ce-4d29-9d90-3591b80bc438" providerId="ADAL" clId="{A1BB9380-C3A6-4BB1-BECC-68ED57B5A022}" dt="2022-01-12T09:02:54.831" v="1674"/>
        <pc:sldMkLst>
          <pc:docMk/>
          <pc:sldMk cId="1940952397" sldId="259"/>
        </pc:sldMkLst>
        <pc:spChg chg="del">
          <ac:chgData name="PROVENCHERE Sandrine" userId="ad1decff-d2ce-4d29-9d90-3591b80bc438" providerId="ADAL" clId="{A1BB9380-C3A6-4BB1-BECC-68ED57B5A022}" dt="2022-01-12T09:02:10.978" v="1672" actId="478"/>
          <ac:spMkLst>
            <pc:docMk/>
            <pc:sldMk cId="1940952397" sldId="259"/>
            <ac:spMk id="4" creationId="{6D0041CF-0050-4242-B9F0-D86BEB1764C9}"/>
          </ac:spMkLst>
        </pc:spChg>
        <pc:graphicFrameChg chg="add mod">
          <ac:chgData name="PROVENCHERE Sandrine" userId="ad1decff-d2ce-4d29-9d90-3591b80bc438" providerId="ADAL" clId="{A1BB9380-C3A6-4BB1-BECC-68ED57B5A022}" dt="2022-01-12T09:02:54.831" v="1674"/>
          <ac:graphicFrameMkLst>
            <pc:docMk/>
            <pc:sldMk cId="1940952397" sldId="259"/>
            <ac:graphicFrameMk id="2" creationId="{E52BEB98-4482-4DF6-8CC0-4DEA1B49032E}"/>
          </ac:graphicFrameMkLst>
        </pc:graphicFrameChg>
        <pc:graphicFrameChg chg="del">
          <ac:chgData name="PROVENCHERE Sandrine" userId="ad1decff-d2ce-4d29-9d90-3591b80bc438" providerId="ADAL" clId="{A1BB9380-C3A6-4BB1-BECC-68ED57B5A022}" dt="2022-01-12T09:02:44.305" v="1673" actId="478"/>
          <ac:graphicFrameMkLst>
            <pc:docMk/>
            <pc:sldMk cId="1940952397" sldId="259"/>
            <ac:graphicFrameMk id="3" creationId="{55F52F80-0CB4-4ABF-9879-92705AF26E2B}"/>
          </ac:graphicFrameMkLst>
        </pc:graphicFrameChg>
      </pc:sldChg>
      <pc:sldChg chg="addSp delSp modSp mod">
        <pc:chgData name="PROVENCHERE Sandrine" userId="ad1decff-d2ce-4d29-9d90-3591b80bc438" providerId="ADAL" clId="{A1BB9380-C3A6-4BB1-BECC-68ED57B5A022}" dt="2022-01-12T09:01:07.301" v="1663" actId="1076"/>
        <pc:sldMkLst>
          <pc:docMk/>
          <pc:sldMk cId="4153218655" sldId="260"/>
        </pc:sldMkLst>
        <pc:graphicFrameChg chg="del">
          <ac:chgData name="PROVENCHERE Sandrine" userId="ad1decff-d2ce-4d29-9d90-3591b80bc438" providerId="ADAL" clId="{A1BB9380-C3A6-4BB1-BECC-68ED57B5A022}" dt="2022-01-12T09:00:52.154" v="1659" actId="478"/>
          <ac:graphicFrameMkLst>
            <pc:docMk/>
            <pc:sldMk cId="4153218655" sldId="260"/>
            <ac:graphicFrameMk id="3" creationId="{E7428F9A-EE9A-4C6E-A697-BCB23F4BC558}"/>
          </ac:graphicFrameMkLst>
        </pc:graphicFrameChg>
        <pc:graphicFrameChg chg="add mod">
          <ac:chgData name="PROVENCHERE Sandrine" userId="ad1decff-d2ce-4d29-9d90-3591b80bc438" providerId="ADAL" clId="{A1BB9380-C3A6-4BB1-BECC-68ED57B5A022}" dt="2022-01-12T09:01:07.301" v="1663" actId="1076"/>
          <ac:graphicFrameMkLst>
            <pc:docMk/>
            <pc:sldMk cId="4153218655" sldId="260"/>
            <ac:graphicFrameMk id="4" creationId="{E35346DD-30AD-4930-B2D4-8FE213778FB8}"/>
          </ac:graphicFrameMkLst>
        </pc:graphicFrameChg>
      </pc:sldChg>
      <pc:sldChg chg="addSp delSp mod">
        <pc:chgData name="PROVENCHERE Sandrine" userId="ad1decff-d2ce-4d29-9d90-3591b80bc438" providerId="ADAL" clId="{A1BB9380-C3A6-4BB1-BECC-68ED57B5A022}" dt="2022-01-12T09:02:03.199" v="1671"/>
        <pc:sldMkLst>
          <pc:docMk/>
          <pc:sldMk cId="1742461301" sldId="261"/>
        </pc:sldMkLst>
        <pc:graphicFrameChg chg="del">
          <ac:chgData name="PROVENCHERE Sandrine" userId="ad1decff-d2ce-4d29-9d90-3591b80bc438" providerId="ADAL" clId="{A1BB9380-C3A6-4BB1-BECC-68ED57B5A022}" dt="2022-01-12T09:01:54.681" v="1670" actId="478"/>
          <ac:graphicFrameMkLst>
            <pc:docMk/>
            <pc:sldMk cId="1742461301" sldId="261"/>
            <ac:graphicFrameMk id="2" creationId="{3D46BE1C-E502-4F84-B4B0-8815D5FA3B37}"/>
          </ac:graphicFrameMkLst>
        </pc:graphicFrameChg>
        <pc:picChg chg="add">
          <ac:chgData name="PROVENCHERE Sandrine" userId="ad1decff-d2ce-4d29-9d90-3591b80bc438" providerId="ADAL" clId="{A1BB9380-C3A6-4BB1-BECC-68ED57B5A022}" dt="2022-01-12T09:02:03.199" v="1671"/>
          <ac:picMkLst>
            <pc:docMk/>
            <pc:sldMk cId="1742461301" sldId="261"/>
            <ac:picMk id="3" creationId="{1276A2A8-42F3-4DD5-B692-97CE4A9A7738}"/>
          </ac:picMkLst>
        </pc:picChg>
      </pc:sldChg>
      <pc:sldChg chg="addSp delSp modSp mod">
        <pc:chgData name="PROVENCHERE Sandrine" userId="ad1decff-d2ce-4d29-9d90-3591b80bc438" providerId="ADAL" clId="{A1BB9380-C3A6-4BB1-BECC-68ED57B5A022}" dt="2022-01-12T09:01:49.688" v="1669" actId="1076"/>
        <pc:sldMkLst>
          <pc:docMk/>
          <pc:sldMk cId="1904957226" sldId="263"/>
        </pc:sldMkLst>
        <pc:graphicFrameChg chg="del mod">
          <ac:chgData name="PROVENCHERE Sandrine" userId="ad1decff-d2ce-4d29-9d90-3591b80bc438" providerId="ADAL" clId="{A1BB9380-C3A6-4BB1-BECC-68ED57B5A022}" dt="2022-01-12T09:01:28.416" v="1665" actId="478"/>
          <ac:graphicFrameMkLst>
            <pc:docMk/>
            <pc:sldMk cId="1904957226" sldId="263"/>
            <ac:graphicFrameMk id="3" creationId="{846EDD79-E78B-4C50-8394-40F1DB3A23CF}"/>
          </ac:graphicFrameMkLst>
        </pc:graphicFrameChg>
        <pc:graphicFrameChg chg="add mod">
          <ac:chgData name="PROVENCHERE Sandrine" userId="ad1decff-d2ce-4d29-9d90-3591b80bc438" providerId="ADAL" clId="{A1BB9380-C3A6-4BB1-BECC-68ED57B5A022}" dt="2022-01-12T09:01:49.688" v="1669" actId="1076"/>
          <ac:graphicFrameMkLst>
            <pc:docMk/>
            <pc:sldMk cId="1904957226" sldId="263"/>
            <ac:graphicFrameMk id="4" creationId="{A95D82D4-799C-4E69-AB1F-D18C5C917A9E}"/>
          </ac:graphicFrameMkLst>
        </pc:graphicFrameChg>
      </pc:sldChg>
      <pc:sldChg chg="addSp delSp modSp">
        <pc:chgData name="PROVENCHERE Sandrine" userId="ad1decff-d2ce-4d29-9d90-3591b80bc438" providerId="ADAL" clId="{A1BB9380-C3A6-4BB1-BECC-68ED57B5A022}" dt="2022-01-06T14:54:35.128" v="123" actId="1076"/>
        <pc:sldMkLst>
          <pc:docMk/>
          <pc:sldMk cId="4225315447" sldId="301"/>
        </pc:sldMkLst>
        <pc:spChg chg="add mod">
          <ac:chgData name="PROVENCHERE Sandrine" userId="ad1decff-d2ce-4d29-9d90-3591b80bc438" providerId="ADAL" clId="{A1BB9380-C3A6-4BB1-BECC-68ED57B5A022}" dt="2022-01-06T14:54:35.128" v="123" actId="1076"/>
          <ac:spMkLst>
            <pc:docMk/>
            <pc:sldMk cId="4225315447" sldId="301"/>
            <ac:spMk id="56" creationId="{A39010D1-F9C5-4A3C-99B2-28629C932579}"/>
          </ac:spMkLst>
        </pc:spChg>
        <pc:spChg chg="add mod">
          <ac:chgData name="PROVENCHERE Sandrine" userId="ad1decff-d2ce-4d29-9d90-3591b80bc438" providerId="ADAL" clId="{A1BB9380-C3A6-4BB1-BECC-68ED57B5A022}" dt="2022-01-06T14:54:35.128" v="123" actId="1076"/>
          <ac:spMkLst>
            <pc:docMk/>
            <pc:sldMk cId="4225315447" sldId="301"/>
            <ac:spMk id="57" creationId="{E685962F-7337-41E7-8A5E-0D24332E6A89}"/>
          </ac:spMkLst>
        </pc:spChg>
        <pc:spChg chg="add mod">
          <ac:chgData name="PROVENCHERE Sandrine" userId="ad1decff-d2ce-4d29-9d90-3591b80bc438" providerId="ADAL" clId="{A1BB9380-C3A6-4BB1-BECC-68ED57B5A022}" dt="2022-01-06T14:54:35.128" v="123" actId="1076"/>
          <ac:spMkLst>
            <pc:docMk/>
            <pc:sldMk cId="4225315447" sldId="301"/>
            <ac:spMk id="59" creationId="{0B5B200B-1B5E-461C-A238-90BFCC48DA8A}"/>
          </ac:spMkLst>
        </pc:spChg>
        <pc:spChg chg="add mod">
          <ac:chgData name="PROVENCHERE Sandrine" userId="ad1decff-d2ce-4d29-9d90-3591b80bc438" providerId="ADAL" clId="{A1BB9380-C3A6-4BB1-BECC-68ED57B5A022}" dt="2022-01-06T14:54:35.128" v="123" actId="1076"/>
          <ac:spMkLst>
            <pc:docMk/>
            <pc:sldMk cId="4225315447" sldId="301"/>
            <ac:spMk id="60" creationId="{C2BC7AAA-CB63-47AC-92E8-124E5F16EFE6}"/>
          </ac:spMkLst>
        </pc:spChg>
        <pc:spChg chg="add mod">
          <ac:chgData name="PROVENCHERE Sandrine" userId="ad1decff-d2ce-4d29-9d90-3591b80bc438" providerId="ADAL" clId="{A1BB9380-C3A6-4BB1-BECC-68ED57B5A022}" dt="2022-01-06T14:54:35.128" v="123" actId="1076"/>
          <ac:spMkLst>
            <pc:docMk/>
            <pc:sldMk cId="4225315447" sldId="301"/>
            <ac:spMk id="61" creationId="{48B0C126-731D-43DC-A495-89FA9DC69AF2}"/>
          </ac:spMkLst>
        </pc:spChg>
        <pc:spChg chg="add mod">
          <ac:chgData name="PROVENCHERE Sandrine" userId="ad1decff-d2ce-4d29-9d90-3591b80bc438" providerId="ADAL" clId="{A1BB9380-C3A6-4BB1-BECC-68ED57B5A022}" dt="2022-01-06T14:54:35.128" v="123" actId="1076"/>
          <ac:spMkLst>
            <pc:docMk/>
            <pc:sldMk cId="4225315447" sldId="301"/>
            <ac:spMk id="62" creationId="{BDCDA538-705A-45B3-9365-5EC88C548C03}"/>
          </ac:spMkLst>
        </pc:spChg>
        <pc:spChg chg="add mod">
          <ac:chgData name="PROVENCHERE Sandrine" userId="ad1decff-d2ce-4d29-9d90-3591b80bc438" providerId="ADAL" clId="{A1BB9380-C3A6-4BB1-BECC-68ED57B5A022}" dt="2022-01-06T14:54:35.128" v="123" actId="1076"/>
          <ac:spMkLst>
            <pc:docMk/>
            <pc:sldMk cId="4225315447" sldId="301"/>
            <ac:spMk id="63" creationId="{309869CB-6C94-4A86-9712-7F37302E3E49}"/>
          </ac:spMkLst>
        </pc:spChg>
        <pc:spChg chg="add mod">
          <ac:chgData name="PROVENCHERE Sandrine" userId="ad1decff-d2ce-4d29-9d90-3591b80bc438" providerId="ADAL" clId="{A1BB9380-C3A6-4BB1-BECC-68ED57B5A022}" dt="2022-01-06T14:54:35.128" v="123" actId="1076"/>
          <ac:spMkLst>
            <pc:docMk/>
            <pc:sldMk cId="4225315447" sldId="301"/>
            <ac:spMk id="64" creationId="{2C152B05-A4C2-41F1-AB6C-AD3C0271CC42}"/>
          </ac:spMkLst>
        </pc:spChg>
        <pc:spChg chg="add mod">
          <ac:chgData name="PROVENCHERE Sandrine" userId="ad1decff-d2ce-4d29-9d90-3591b80bc438" providerId="ADAL" clId="{A1BB9380-C3A6-4BB1-BECC-68ED57B5A022}" dt="2022-01-06T14:54:35.128" v="123" actId="1076"/>
          <ac:spMkLst>
            <pc:docMk/>
            <pc:sldMk cId="4225315447" sldId="301"/>
            <ac:spMk id="65" creationId="{A52EA9C2-256E-4BBA-9F87-71E342B31262}"/>
          </ac:spMkLst>
        </pc:spChg>
        <pc:spChg chg="add mod">
          <ac:chgData name="PROVENCHERE Sandrine" userId="ad1decff-d2ce-4d29-9d90-3591b80bc438" providerId="ADAL" clId="{A1BB9380-C3A6-4BB1-BECC-68ED57B5A022}" dt="2022-01-06T14:54:35.128" v="123" actId="1076"/>
          <ac:spMkLst>
            <pc:docMk/>
            <pc:sldMk cId="4225315447" sldId="301"/>
            <ac:spMk id="66" creationId="{2C6BA723-B124-49E4-BF9B-4F0442D5ABC8}"/>
          </ac:spMkLst>
        </pc:spChg>
        <pc:spChg chg="add mod">
          <ac:chgData name="PROVENCHERE Sandrine" userId="ad1decff-d2ce-4d29-9d90-3591b80bc438" providerId="ADAL" clId="{A1BB9380-C3A6-4BB1-BECC-68ED57B5A022}" dt="2022-01-06T14:54:35.128" v="123" actId="1076"/>
          <ac:spMkLst>
            <pc:docMk/>
            <pc:sldMk cId="4225315447" sldId="301"/>
            <ac:spMk id="68" creationId="{05F7EB7C-4101-4DC1-BA79-A8A49FDDDF6B}"/>
          </ac:spMkLst>
        </pc:spChg>
        <pc:spChg chg="add mod">
          <ac:chgData name="PROVENCHERE Sandrine" userId="ad1decff-d2ce-4d29-9d90-3591b80bc438" providerId="ADAL" clId="{A1BB9380-C3A6-4BB1-BECC-68ED57B5A022}" dt="2022-01-06T14:54:35.128" v="123" actId="1076"/>
          <ac:spMkLst>
            <pc:docMk/>
            <pc:sldMk cId="4225315447" sldId="301"/>
            <ac:spMk id="69" creationId="{9BFBD9D9-A1EF-4228-B27D-DF2BFBD83C85}"/>
          </ac:spMkLst>
        </pc:spChg>
        <pc:spChg chg="add mod">
          <ac:chgData name="PROVENCHERE Sandrine" userId="ad1decff-d2ce-4d29-9d90-3591b80bc438" providerId="ADAL" clId="{A1BB9380-C3A6-4BB1-BECC-68ED57B5A022}" dt="2022-01-06T14:54:35.128" v="123" actId="1076"/>
          <ac:spMkLst>
            <pc:docMk/>
            <pc:sldMk cId="4225315447" sldId="301"/>
            <ac:spMk id="70" creationId="{F08B5E2B-BB39-479A-9431-84CC033B030A}"/>
          </ac:spMkLst>
        </pc:spChg>
        <pc:spChg chg="add mod">
          <ac:chgData name="PROVENCHERE Sandrine" userId="ad1decff-d2ce-4d29-9d90-3591b80bc438" providerId="ADAL" clId="{A1BB9380-C3A6-4BB1-BECC-68ED57B5A022}" dt="2022-01-06T14:54:35.128" v="123" actId="1076"/>
          <ac:spMkLst>
            <pc:docMk/>
            <pc:sldMk cId="4225315447" sldId="301"/>
            <ac:spMk id="72" creationId="{BD7495C4-5A7B-4A81-8402-247150BBE01B}"/>
          </ac:spMkLst>
        </pc:spChg>
        <pc:spChg chg="add mod">
          <ac:chgData name="PROVENCHERE Sandrine" userId="ad1decff-d2ce-4d29-9d90-3591b80bc438" providerId="ADAL" clId="{A1BB9380-C3A6-4BB1-BECC-68ED57B5A022}" dt="2022-01-06T14:54:35.128" v="123" actId="1076"/>
          <ac:spMkLst>
            <pc:docMk/>
            <pc:sldMk cId="4225315447" sldId="301"/>
            <ac:spMk id="73" creationId="{D7640440-59F2-482F-A5DC-AAB3C0A49F1B}"/>
          </ac:spMkLst>
        </pc:spChg>
        <pc:spChg chg="add mod">
          <ac:chgData name="PROVENCHERE Sandrine" userId="ad1decff-d2ce-4d29-9d90-3591b80bc438" providerId="ADAL" clId="{A1BB9380-C3A6-4BB1-BECC-68ED57B5A022}" dt="2022-01-06T14:54:35.128" v="123" actId="1076"/>
          <ac:spMkLst>
            <pc:docMk/>
            <pc:sldMk cId="4225315447" sldId="301"/>
            <ac:spMk id="74" creationId="{8C65D0BE-D856-4956-BA10-5CEC2CE46159}"/>
          </ac:spMkLst>
        </pc:spChg>
        <pc:spChg chg="add mod">
          <ac:chgData name="PROVENCHERE Sandrine" userId="ad1decff-d2ce-4d29-9d90-3591b80bc438" providerId="ADAL" clId="{A1BB9380-C3A6-4BB1-BECC-68ED57B5A022}" dt="2022-01-06T14:54:35.128" v="123" actId="1076"/>
          <ac:spMkLst>
            <pc:docMk/>
            <pc:sldMk cId="4225315447" sldId="301"/>
            <ac:spMk id="75" creationId="{6DC4A693-D4B1-4A15-9A20-D867A404BEE8}"/>
          </ac:spMkLst>
        </pc:spChg>
        <pc:spChg chg="add mod">
          <ac:chgData name="PROVENCHERE Sandrine" userId="ad1decff-d2ce-4d29-9d90-3591b80bc438" providerId="ADAL" clId="{A1BB9380-C3A6-4BB1-BECC-68ED57B5A022}" dt="2022-01-06T14:54:35.128" v="123" actId="1076"/>
          <ac:spMkLst>
            <pc:docMk/>
            <pc:sldMk cId="4225315447" sldId="301"/>
            <ac:spMk id="76" creationId="{C95D9A18-2A68-4DAE-8C30-4031A4D6F3D8}"/>
          </ac:spMkLst>
        </pc:spChg>
        <pc:spChg chg="add mod">
          <ac:chgData name="PROVENCHERE Sandrine" userId="ad1decff-d2ce-4d29-9d90-3591b80bc438" providerId="ADAL" clId="{A1BB9380-C3A6-4BB1-BECC-68ED57B5A022}" dt="2022-01-06T14:54:35.128" v="123" actId="1076"/>
          <ac:spMkLst>
            <pc:docMk/>
            <pc:sldMk cId="4225315447" sldId="301"/>
            <ac:spMk id="77" creationId="{D01A9041-257D-4C8F-951B-BC12F04DD24B}"/>
          </ac:spMkLst>
        </pc:spChg>
        <pc:spChg chg="add mod">
          <ac:chgData name="PROVENCHERE Sandrine" userId="ad1decff-d2ce-4d29-9d90-3591b80bc438" providerId="ADAL" clId="{A1BB9380-C3A6-4BB1-BECC-68ED57B5A022}" dt="2022-01-06T14:54:35.128" v="123" actId="1076"/>
          <ac:spMkLst>
            <pc:docMk/>
            <pc:sldMk cId="4225315447" sldId="301"/>
            <ac:spMk id="78" creationId="{75C3C945-F71F-44B8-A452-C532E59FBB4A}"/>
          </ac:spMkLst>
        </pc:spChg>
        <pc:spChg chg="add mod">
          <ac:chgData name="PROVENCHERE Sandrine" userId="ad1decff-d2ce-4d29-9d90-3591b80bc438" providerId="ADAL" clId="{A1BB9380-C3A6-4BB1-BECC-68ED57B5A022}" dt="2022-01-06T14:54:35.128" v="123" actId="1076"/>
          <ac:spMkLst>
            <pc:docMk/>
            <pc:sldMk cId="4225315447" sldId="301"/>
            <ac:spMk id="79" creationId="{127515C1-A7A8-4A41-8455-7AA6E3B8EAAE}"/>
          </ac:spMkLst>
        </pc:spChg>
        <pc:spChg chg="del">
          <ac:chgData name="PROVENCHERE Sandrine" userId="ad1decff-d2ce-4d29-9d90-3591b80bc438" providerId="ADAL" clId="{A1BB9380-C3A6-4BB1-BECC-68ED57B5A022}" dt="2022-01-06T14:54:12.424" v="121" actId="478"/>
          <ac:spMkLst>
            <pc:docMk/>
            <pc:sldMk cId="4225315447" sldId="301"/>
            <ac:spMk id="123" creationId="{9C13A0BF-8AAB-40F5-B616-5172541DCF5A}"/>
          </ac:spMkLst>
        </pc:spChg>
        <pc:spChg chg="del">
          <ac:chgData name="PROVENCHERE Sandrine" userId="ad1decff-d2ce-4d29-9d90-3591b80bc438" providerId="ADAL" clId="{A1BB9380-C3A6-4BB1-BECC-68ED57B5A022}" dt="2022-01-06T14:54:12.424" v="121" actId="478"/>
          <ac:spMkLst>
            <pc:docMk/>
            <pc:sldMk cId="4225315447" sldId="301"/>
            <ac:spMk id="125" creationId="{B5599E59-CBDC-41CE-84C4-A45705673291}"/>
          </ac:spMkLst>
        </pc:spChg>
        <pc:spChg chg="del">
          <ac:chgData name="PROVENCHERE Sandrine" userId="ad1decff-d2ce-4d29-9d90-3591b80bc438" providerId="ADAL" clId="{A1BB9380-C3A6-4BB1-BECC-68ED57B5A022}" dt="2022-01-06T14:54:12.424" v="121" actId="478"/>
          <ac:spMkLst>
            <pc:docMk/>
            <pc:sldMk cId="4225315447" sldId="301"/>
            <ac:spMk id="147" creationId="{A6A6738F-F0E0-486F-9139-0830926B3AD9}"/>
          </ac:spMkLst>
        </pc:spChg>
        <pc:spChg chg="del">
          <ac:chgData name="PROVENCHERE Sandrine" userId="ad1decff-d2ce-4d29-9d90-3591b80bc438" providerId="ADAL" clId="{A1BB9380-C3A6-4BB1-BECC-68ED57B5A022}" dt="2022-01-06T14:54:12.424" v="121" actId="478"/>
          <ac:spMkLst>
            <pc:docMk/>
            <pc:sldMk cId="4225315447" sldId="301"/>
            <ac:spMk id="148" creationId="{BBBED07B-9BF3-49F2-B15C-32DE30829C4F}"/>
          </ac:spMkLst>
        </pc:spChg>
        <pc:spChg chg="del">
          <ac:chgData name="PROVENCHERE Sandrine" userId="ad1decff-d2ce-4d29-9d90-3591b80bc438" providerId="ADAL" clId="{A1BB9380-C3A6-4BB1-BECC-68ED57B5A022}" dt="2022-01-06T14:54:12.424" v="121" actId="478"/>
          <ac:spMkLst>
            <pc:docMk/>
            <pc:sldMk cId="4225315447" sldId="301"/>
            <ac:spMk id="150" creationId="{5FF19DBF-43B9-4F47-88D6-892CEA366C21}"/>
          </ac:spMkLst>
        </pc:spChg>
        <pc:spChg chg="del">
          <ac:chgData name="PROVENCHERE Sandrine" userId="ad1decff-d2ce-4d29-9d90-3591b80bc438" providerId="ADAL" clId="{A1BB9380-C3A6-4BB1-BECC-68ED57B5A022}" dt="2022-01-06T14:54:12.424" v="121" actId="478"/>
          <ac:spMkLst>
            <pc:docMk/>
            <pc:sldMk cId="4225315447" sldId="301"/>
            <ac:spMk id="151" creationId="{D886DA7A-7E73-490B-A584-A4D185A304C9}"/>
          </ac:spMkLst>
        </pc:spChg>
        <pc:spChg chg="del">
          <ac:chgData name="PROVENCHERE Sandrine" userId="ad1decff-d2ce-4d29-9d90-3591b80bc438" providerId="ADAL" clId="{A1BB9380-C3A6-4BB1-BECC-68ED57B5A022}" dt="2022-01-06T14:54:12.424" v="121" actId="478"/>
          <ac:spMkLst>
            <pc:docMk/>
            <pc:sldMk cId="4225315447" sldId="301"/>
            <ac:spMk id="155" creationId="{1E03B198-07C0-4269-95E4-B461A9DFB222}"/>
          </ac:spMkLst>
        </pc:spChg>
        <pc:spChg chg="del">
          <ac:chgData name="PROVENCHERE Sandrine" userId="ad1decff-d2ce-4d29-9d90-3591b80bc438" providerId="ADAL" clId="{A1BB9380-C3A6-4BB1-BECC-68ED57B5A022}" dt="2022-01-06T14:54:12.424" v="121" actId="478"/>
          <ac:spMkLst>
            <pc:docMk/>
            <pc:sldMk cId="4225315447" sldId="301"/>
            <ac:spMk id="156" creationId="{ACAE95C9-3B62-45D6-B8CC-694C1F63E976}"/>
          </ac:spMkLst>
        </pc:spChg>
        <pc:spChg chg="del">
          <ac:chgData name="PROVENCHERE Sandrine" userId="ad1decff-d2ce-4d29-9d90-3591b80bc438" providerId="ADAL" clId="{A1BB9380-C3A6-4BB1-BECC-68ED57B5A022}" dt="2022-01-06T14:54:12.424" v="121" actId="478"/>
          <ac:spMkLst>
            <pc:docMk/>
            <pc:sldMk cId="4225315447" sldId="301"/>
            <ac:spMk id="157" creationId="{6DDBECF7-8C5D-4120-9EF0-E8D640FB88FF}"/>
          </ac:spMkLst>
        </pc:spChg>
        <pc:spChg chg="del">
          <ac:chgData name="PROVENCHERE Sandrine" userId="ad1decff-d2ce-4d29-9d90-3591b80bc438" providerId="ADAL" clId="{A1BB9380-C3A6-4BB1-BECC-68ED57B5A022}" dt="2022-01-06T14:54:12.424" v="121" actId="478"/>
          <ac:spMkLst>
            <pc:docMk/>
            <pc:sldMk cId="4225315447" sldId="301"/>
            <ac:spMk id="158" creationId="{B3473F50-670B-43ED-AF3C-72A60F9C0F21}"/>
          </ac:spMkLst>
        </pc:spChg>
        <pc:spChg chg="del">
          <ac:chgData name="PROVENCHERE Sandrine" userId="ad1decff-d2ce-4d29-9d90-3591b80bc438" providerId="ADAL" clId="{A1BB9380-C3A6-4BB1-BECC-68ED57B5A022}" dt="2022-01-06T14:54:12.424" v="121" actId="478"/>
          <ac:spMkLst>
            <pc:docMk/>
            <pc:sldMk cId="4225315447" sldId="301"/>
            <ac:spMk id="160" creationId="{F294ACFE-BD76-4FF7-9600-C2A421E2AB21}"/>
          </ac:spMkLst>
        </pc:spChg>
        <pc:spChg chg="del">
          <ac:chgData name="PROVENCHERE Sandrine" userId="ad1decff-d2ce-4d29-9d90-3591b80bc438" providerId="ADAL" clId="{A1BB9380-C3A6-4BB1-BECC-68ED57B5A022}" dt="2022-01-06T14:54:12.424" v="121" actId="478"/>
          <ac:spMkLst>
            <pc:docMk/>
            <pc:sldMk cId="4225315447" sldId="301"/>
            <ac:spMk id="161" creationId="{37A5F7BA-13A2-4C54-B62A-A9E8A6C14D45}"/>
          </ac:spMkLst>
        </pc:spChg>
        <pc:spChg chg="del">
          <ac:chgData name="PROVENCHERE Sandrine" userId="ad1decff-d2ce-4d29-9d90-3591b80bc438" providerId="ADAL" clId="{A1BB9380-C3A6-4BB1-BECC-68ED57B5A022}" dt="2022-01-06T14:54:12.424" v="121" actId="478"/>
          <ac:spMkLst>
            <pc:docMk/>
            <pc:sldMk cId="4225315447" sldId="301"/>
            <ac:spMk id="162" creationId="{A5B439A7-DF17-413E-B1D8-A0ECCF4FE4CE}"/>
          </ac:spMkLst>
        </pc:spChg>
        <pc:spChg chg="del">
          <ac:chgData name="PROVENCHERE Sandrine" userId="ad1decff-d2ce-4d29-9d90-3591b80bc438" providerId="ADAL" clId="{A1BB9380-C3A6-4BB1-BECC-68ED57B5A022}" dt="2022-01-06T14:54:12.424" v="121" actId="478"/>
          <ac:spMkLst>
            <pc:docMk/>
            <pc:sldMk cId="4225315447" sldId="301"/>
            <ac:spMk id="163" creationId="{718627F3-50D9-4D97-80C1-DD26C7D4B8C0}"/>
          </ac:spMkLst>
        </pc:spChg>
        <pc:spChg chg="del">
          <ac:chgData name="PROVENCHERE Sandrine" userId="ad1decff-d2ce-4d29-9d90-3591b80bc438" providerId="ADAL" clId="{A1BB9380-C3A6-4BB1-BECC-68ED57B5A022}" dt="2022-01-06T14:54:12.424" v="121" actId="478"/>
          <ac:spMkLst>
            <pc:docMk/>
            <pc:sldMk cId="4225315447" sldId="301"/>
            <ac:spMk id="164" creationId="{AFD30AB5-9152-4985-8BFC-2F06F5ADED9A}"/>
          </ac:spMkLst>
        </pc:spChg>
        <pc:spChg chg="del">
          <ac:chgData name="PROVENCHERE Sandrine" userId="ad1decff-d2ce-4d29-9d90-3591b80bc438" providerId="ADAL" clId="{A1BB9380-C3A6-4BB1-BECC-68ED57B5A022}" dt="2022-01-06T14:54:12.424" v="121" actId="478"/>
          <ac:spMkLst>
            <pc:docMk/>
            <pc:sldMk cId="4225315447" sldId="301"/>
            <ac:spMk id="168" creationId="{AAD17029-FDDA-448C-BF13-577BA6F74FD2}"/>
          </ac:spMkLst>
        </pc:spChg>
        <pc:spChg chg="del">
          <ac:chgData name="PROVENCHERE Sandrine" userId="ad1decff-d2ce-4d29-9d90-3591b80bc438" providerId="ADAL" clId="{A1BB9380-C3A6-4BB1-BECC-68ED57B5A022}" dt="2022-01-06T14:54:12.424" v="121" actId="478"/>
          <ac:spMkLst>
            <pc:docMk/>
            <pc:sldMk cId="4225315447" sldId="301"/>
            <ac:spMk id="178" creationId="{F48AE032-8349-4D23-AA1B-0CB2DFBBA03D}"/>
          </ac:spMkLst>
        </pc:spChg>
        <pc:spChg chg="del">
          <ac:chgData name="PROVENCHERE Sandrine" userId="ad1decff-d2ce-4d29-9d90-3591b80bc438" providerId="ADAL" clId="{A1BB9380-C3A6-4BB1-BECC-68ED57B5A022}" dt="2022-01-06T14:54:12.424" v="121" actId="478"/>
          <ac:spMkLst>
            <pc:docMk/>
            <pc:sldMk cId="4225315447" sldId="301"/>
            <ac:spMk id="218" creationId="{B22116CF-A9AF-423C-893C-FDD7D90CA7D3}"/>
          </ac:spMkLst>
        </pc:spChg>
        <pc:spChg chg="del">
          <ac:chgData name="PROVENCHERE Sandrine" userId="ad1decff-d2ce-4d29-9d90-3591b80bc438" providerId="ADAL" clId="{A1BB9380-C3A6-4BB1-BECC-68ED57B5A022}" dt="2022-01-06T14:54:12.424" v="121" actId="478"/>
          <ac:spMkLst>
            <pc:docMk/>
            <pc:sldMk cId="4225315447" sldId="301"/>
            <ac:spMk id="223" creationId="{84A01702-8DB0-42AE-9C4B-F8980921E941}"/>
          </ac:spMkLst>
        </pc:spChg>
        <pc:spChg chg="del">
          <ac:chgData name="PROVENCHERE Sandrine" userId="ad1decff-d2ce-4d29-9d90-3591b80bc438" providerId="ADAL" clId="{A1BB9380-C3A6-4BB1-BECC-68ED57B5A022}" dt="2022-01-06T14:54:12.424" v="121" actId="478"/>
          <ac:spMkLst>
            <pc:docMk/>
            <pc:sldMk cId="4225315447" sldId="301"/>
            <ac:spMk id="742" creationId="{ABC18BB4-82C9-4223-AAD8-AE0995D1758D}"/>
          </ac:spMkLst>
        </pc:spChg>
        <pc:spChg chg="del">
          <ac:chgData name="PROVENCHERE Sandrine" userId="ad1decff-d2ce-4d29-9d90-3591b80bc438" providerId="ADAL" clId="{A1BB9380-C3A6-4BB1-BECC-68ED57B5A022}" dt="2022-01-06T14:54:12.424" v="121" actId="478"/>
          <ac:spMkLst>
            <pc:docMk/>
            <pc:sldMk cId="4225315447" sldId="301"/>
            <ac:spMk id="871" creationId="{64210237-1B7A-4D9A-8DEF-E0D7D025F0C2}"/>
          </ac:spMkLst>
        </pc:spChg>
        <pc:graphicFrameChg chg="add mod">
          <ac:chgData name="PROVENCHERE Sandrine" userId="ad1decff-d2ce-4d29-9d90-3591b80bc438" providerId="ADAL" clId="{A1BB9380-C3A6-4BB1-BECC-68ED57B5A022}" dt="2022-01-06T14:54:35.128" v="123" actId="1076"/>
          <ac:graphicFrameMkLst>
            <pc:docMk/>
            <pc:sldMk cId="4225315447" sldId="301"/>
            <ac:graphicFrameMk id="58" creationId="{AA9C07FF-99B6-421B-8566-A21672F4635B}"/>
          </ac:graphicFrameMkLst>
        </pc:graphicFrameChg>
        <pc:graphicFrameChg chg="add mod">
          <ac:chgData name="PROVENCHERE Sandrine" userId="ad1decff-d2ce-4d29-9d90-3591b80bc438" providerId="ADAL" clId="{A1BB9380-C3A6-4BB1-BECC-68ED57B5A022}" dt="2022-01-06T14:54:35.128" v="123" actId="1076"/>
          <ac:graphicFrameMkLst>
            <pc:docMk/>
            <pc:sldMk cId="4225315447" sldId="301"/>
            <ac:graphicFrameMk id="67" creationId="{23A7A7DD-7D18-4F16-90EC-92BFE882599C}"/>
          </ac:graphicFrameMkLst>
        </pc:graphicFrameChg>
        <pc:graphicFrameChg chg="del">
          <ac:chgData name="PROVENCHERE Sandrine" userId="ad1decff-d2ce-4d29-9d90-3591b80bc438" providerId="ADAL" clId="{A1BB9380-C3A6-4BB1-BECC-68ED57B5A022}" dt="2022-01-06T14:54:12.424" v="121" actId="478"/>
          <ac:graphicFrameMkLst>
            <pc:docMk/>
            <pc:sldMk cId="4225315447" sldId="301"/>
            <ac:graphicFrameMk id="131" creationId="{9E7DBEBF-2C00-4621-960D-DA804596E300}"/>
          </ac:graphicFrameMkLst>
        </pc:graphicFrameChg>
        <pc:graphicFrameChg chg="del">
          <ac:chgData name="PROVENCHERE Sandrine" userId="ad1decff-d2ce-4d29-9d90-3591b80bc438" providerId="ADAL" clId="{A1BB9380-C3A6-4BB1-BECC-68ED57B5A022}" dt="2022-01-06T14:54:12.424" v="121" actId="478"/>
          <ac:graphicFrameMkLst>
            <pc:docMk/>
            <pc:sldMk cId="4225315447" sldId="301"/>
            <ac:graphicFrameMk id="142" creationId="{1070B301-6C72-45DD-9958-E8B8F5BEF4C8}"/>
          </ac:graphicFrameMkLst>
        </pc:graphicFrameChg>
        <pc:picChg chg="add mod">
          <ac:chgData name="PROVENCHERE Sandrine" userId="ad1decff-d2ce-4d29-9d90-3591b80bc438" providerId="ADAL" clId="{A1BB9380-C3A6-4BB1-BECC-68ED57B5A022}" dt="2022-01-06T14:54:35.128" v="123" actId="1076"/>
          <ac:picMkLst>
            <pc:docMk/>
            <pc:sldMk cId="4225315447" sldId="301"/>
            <ac:picMk id="80" creationId="{D60916D3-B8BB-4689-AA37-709305E1B386}"/>
          </ac:picMkLst>
        </pc:picChg>
        <pc:picChg chg="add mod">
          <ac:chgData name="PROVENCHERE Sandrine" userId="ad1decff-d2ce-4d29-9d90-3591b80bc438" providerId="ADAL" clId="{A1BB9380-C3A6-4BB1-BECC-68ED57B5A022}" dt="2022-01-06T14:54:35.128" v="123" actId="1076"/>
          <ac:picMkLst>
            <pc:docMk/>
            <pc:sldMk cId="4225315447" sldId="301"/>
            <ac:picMk id="81" creationId="{E55614CD-10FB-4C9A-B9B3-AB5F60EA1320}"/>
          </ac:picMkLst>
        </pc:picChg>
        <pc:picChg chg="del">
          <ac:chgData name="PROVENCHERE Sandrine" userId="ad1decff-d2ce-4d29-9d90-3591b80bc438" providerId="ADAL" clId="{A1BB9380-C3A6-4BB1-BECC-68ED57B5A022}" dt="2022-01-06T14:54:12.424" v="121" actId="478"/>
          <ac:picMkLst>
            <pc:docMk/>
            <pc:sldMk cId="4225315447" sldId="301"/>
            <ac:picMk id="183" creationId="{0961CF9C-5EEE-4B4E-A048-A7BF5CDF0EB1}"/>
          </ac:picMkLst>
        </pc:picChg>
        <pc:picChg chg="del">
          <ac:chgData name="PROVENCHERE Sandrine" userId="ad1decff-d2ce-4d29-9d90-3591b80bc438" providerId="ADAL" clId="{A1BB9380-C3A6-4BB1-BECC-68ED57B5A022}" dt="2022-01-06T14:54:12.424" v="121" actId="478"/>
          <ac:picMkLst>
            <pc:docMk/>
            <pc:sldMk cId="4225315447" sldId="301"/>
            <ac:picMk id="184" creationId="{D03C2D69-7F94-4528-80D7-F007ADB06DA0}"/>
          </ac:picMkLst>
        </pc:picChg>
        <pc:cxnChg chg="add mod">
          <ac:chgData name="PROVENCHERE Sandrine" userId="ad1decff-d2ce-4d29-9d90-3591b80bc438" providerId="ADAL" clId="{A1BB9380-C3A6-4BB1-BECC-68ED57B5A022}" dt="2022-01-06T14:54:35.128" v="123" actId="1076"/>
          <ac:cxnSpMkLst>
            <pc:docMk/>
            <pc:sldMk cId="4225315447" sldId="301"/>
            <ac:cxnSpMk id="82" creationId="{3F938137-B97A-446F-839E-CDD23F5C2C47}"/>
          </ac:cxnSpMkLst>
        </pc:cxnChg>
        <pc:cxnChg chg="add mod">
          <ac:chgData name="PROVENCHERE Sandrine" userId="ad1decff-d2ce-4d29-9d90-3591b80bc438" providerId="ADAL" clId="{A1BB9380-C3A6-4BB1-BECC-68ED57B5A022}" dt="2022-01-06T14:54:35.128" v="123" actId="1076"/>
          <ac:cxnSpMkLst>
            <pc:docMk/>
            <pc:sldMk cId="4225315447" sldId="301"/>
            <ac:cxnSpMk id="83" creationId="{42F66899-CA62-4757-8E07-A918609E64DC}"/>
          </ac:cxnSpMkLst>
        </pc:cxnChg>
        <pc:cxnChg chg="del">
          <ac:chgData name="PROVENCHERE Sandrine" userId="ad1decff-d2ce-4d29-9d90-3591b80bc438" providerId="ADAL" clId="{A1BB9380-C3A6-4BB1-BECC-68ED57B5A022}" dt="2022-01-06T14:54:12.424" v="121" actId="478"/>
          <ac:cxnSpMkLst>
            <pc:docMk/>
            <pc:sldMk cId="4225315447" sldId="301"/>
            <ac:cxnSpMk id="185" creationId="{8E070C81-7978-4428-802F-E547D5658686}"/>
          </ac:cxnSpMkLst>
        </pc:cxnChg>
        <pc:cxnChg chg="del">
          <ac:chgData name="PROVENCHERE Sandrine" userId="ad1decff-d2ce-4d29-9d90-3591b80bc438" providerId="ADAL" clId="{A1BB9380-C3A6-4BB1-BECC-68ED57B5A022}" dt="2022-01-06T14:54:12.424" v="121" actId="478"/>
          <ac:cxnSpMkLst>
            <pc:docMk/>
            <pc:sldMk cId="4225315447" sldId="301"/>
            <ac:cxnSpMk id="271" creationId="{43995405-9F1C-413F-BAE8-4B292BEE38A3}"/>
          </ac:cxnSpMkLst>
        </pc:cxnChg>
      </pc:sldChg>
      <pc:sldChg chg="addSp delSp modSp mod">
        <pc:chgData name="PROVENCHERE Sandrine" userId="ad1decff-d2ce-4d29-9d90-3591b80bc438" providerId="ADAL" clId="{A1BB9380-C3A6-4BB1-BECC-68ED57B5A022}" dt="2022-01-12T09:55:56.943" v="2757" actId="478"/>
        <pc:sldMkLst>
          <pc:docMk/>
          <pc:sldMk cId="2995402291" sldId="302"/>
        </pc:sldMkLst>
        <pc:spChg chg="mod">
          <ac:chgData name="PROVENCHERE Sandrine" userId="ad1decff-d2ce-4d29-9d90-3591b80bc438" providerId="ADAL" clId="{A1BB9380-C3A6-4BB1-BECC-68ED57B5A022}" dt="2022-01-06T14:51:50.640" v="71" actId="20577"/>
          <ac:spMkLst>
            <pc:docMk/>
            <pc:sldMk cId="2995402291" sldId="302"/>
            <ac:spMk id="2" creationId="{5660FD56-7A4F-47E5-8616-21914FCCBB4D}"/>
          </ac:spMkLst>
        </pc:spChg>
        <pc:spChg chg="del">
          <ac:chgData name="PROVENCHERE Sandrine" userId="ad1decff-d2ce-4d29-9d90-3591b80bc438" providerId="ADAL" clId="{A1BB9380-C3A6-4BB1-BECC-68ED57B5A022}" dt="2022-01-06T14:49:28.720" v="37" actId="478"/>
          <ac:spMkLst>
            <pc:docMk/>
            <pc:sldMk cId="2995402291" sldId="302"/>
            <ac:spMk id="5" creationId="{033BE535-BEA1-47DF-9882-B02E4E1D9238}"/>
          </ac:spMkLst>
        </pc:spChg>
        <pc:spChg chg="del mod modVis">
          <ac:chgData name="PROVENCHERE Sandrine" userId="ad1decff-d2ce-4d29-9d90-3591b80bc438" providerId="ADAL" clId="{A1BB9380-C3A6-4BB1-BECC-68ED57B5A022}" dt="2022-01-12T09:55:53.079" v="2755" actId="478"/>
          <ac:spMkLst>
            <pc:docMk/>
            <pc:sldMk cId="2995402291" sldId="302"/>
            <ac:spMk id="13" creationId="{45A28ABA-6C67-4EE2-A077-16F333614D0A}"/>
          </ac:spMkLst>
        </pc:spChg>
        <pc:spChg chg="del">
          <ac:chgData name="PROVENCHERE Sandrine" userId="ad1decff-d2ce-4d29-9d90-3591b80bc438" providerId="ADAL" clId="{A1BB9380-C3A6-4BB1-BECC-68ED57B5A022}" dt="2022-01-06T14:49:28.720" v="37" actId="478"/>
          <ac:spMkLst>
            <pc:docMk/>
            <pc:sldMk cId="2995402291" sldId="302"/>
            <ac:spMk id="18" creationId="{2C27D80E-9757-4D01-8DD2-BDF8C115C36B}"/>
          </ac:spMkLst>
        </pc:spChg>
        <pc:spChg chg="del mod modVis">
          <ac:chgData name="PROVENCHERE Sandrine" userId="ad1decff-d2ce-4d29-9d90-3591b80bc438" providerId="ADAL" clId="{A1BB9380-C3A6-4BB1-BECC-68ED57B5A022}" dt="2022-01-12T09:55:41.377" v="2749" actId="478"/>
          <ac:spMkLst>
            <pc:docMk/>
            <pc:sldMk cId="2995402291" sldId="302"/>
            <ac:spMk id="20" creationId="{EB96E697-17D2-428C-89B5-1B12F9EFABAB}"/>
          </ac:spMkLst>
        </pc:spChg>
        <pc:spChg chg="add mod modVis">
          <ac:chgData name="PROVENCHERE Sandrine" userId="ad1decff-d2ce-4d29-9d90-3591b80bc438" providerId="ADAL" clId="{A1BB9380-C3A6-4BB1-BECC-68ED57B5A022}" dt="2022-01-12T09:55:14.705" v="2741" actId="14429"/>
          <ac:spMkLst>
            <pc:docMk/>
            <pc:sldMk cId="2995402291" sldId="302"/>
            <ac:spMk id="43" creationId="{2F215DB9-A781-4AE0-A695-DA6A91843FB3}"/>
          </ac:spMkLst>
        </pc:spChg>
        <pc:spChg chg="add mod">
          <ac:chgData name="PROVENCHERE Sandrine" userId="ad1decff-d2ce-4d29-9d90-3591b80bc438" providerId="ADAL" clId="{A1BB9380-C3A6-4BB1-BECC-68ED57B5A022}" dt="2022-01-12T09:53:23.061" v="2692" actId="20577"/>
          <ac:spMkLst>
            <pc:docMk/>
            <pc:sldMk cId="2995402291" sldId="302"/>
            <ac:spMk id="44" creationId="{DCE5998A-69A5-4E04-8FA5-F572B464152E}"/>
          </ac:spMkLst>
        </pc:spChg>
        <pc:spChg chg="add mod">
          <ac:chgData name="PROVENCHERE Sandrine" userId="ad1decff-d2ce-4d29-9d90-3591b80bc438" providerId="ADAL" clId="{A1BB9380-C3A6-4BB1-BECC-68ED57B5A022}" dt="2022-01-06T14:49:37.936" v="38"/>
          <ac:spMkLst>
            <pc:docMk/>
            <pc:sldMk cId="2995402291" sldId="302"/>
            <ac:spMk id="45" creationId="{FC2B5B9A-E970-44C1-BD0B-F10E00E3F0A7}"/>
          </ac:spMkLst>
        </pc:spChg>
        <pc:spChg chg="add mod">
          <ac:chgData name="PROVENCHERE Sandrine" userId="ad1decff-d2ce-4d29-9d90-3591b80bc438" providerId="ADAL" clId="{A1BB9380-C3A6-4BB1-BECC-68ED57B5A022}" dt="2022-01-12T09:52:48.778" v="2688" actId="20577"/>
          <ac:spMkLst>
            <pc:docMk/>
            <pc:sldMk cId="2995402291" sldId="302"/>
            <ac:spMk id="46" creationId="{A0BBF65A-0F0C-431E-90A2-E06D8A883414}"/>
          </ac:spMkLst>
        </pc:spChg>
        <pc:spChg chg="add mod">
          <ac:chgData name="PROVENCHERE Sandrine" userId="ad1decff-d2ce-4d29-9d90-3591b80bc438" providerId="ADAL" clId="{A1BB9380-C3A6-4BB1-BECC-68ED57B5A022}" dt="2022-01-12T09:55:04.662" v="2738" actId="20577"/>
          <ac:spMkLst>
            <pc:docMk/>
            <pc:sldMk cId="2995402291" sldId="302"/>
            <ac:spMk id="47" creationId="{CC111DD5-8B36-479D-BFDD-336C33BE6E8B}"/>
          </ac:spMkLst>
        </pc:spChg>
        <pc:spChg chg="add mod">
          <ac:chgData name="PROVENCHERE Sandrine" userId="ad1decff-d2ce-4d29-9d90-3591b80bc438" providerId="ADAL" clId="{A1BB9380-C3A6-4BB1-BECC-68ED57B5A022}" dt="2022-01-06T14:49:37.936" v="38"/>
          <ac:spMkLst>
            <pc:docMk/>
            <pc:sldMk cId="2995402291" sldId="302"/>
            <ac:spMk id="48" creationId="{C53D8C9D-A0F4-43CC-8185-7CA90069D6C5}"/>
          </ac:spMkLst>
        </pc:spChg>
        <pc:spChg chg="add mod">
          <ac:chgData name="PROVENCHERE Sandrine" userId="ad1decff-d2ce-4d29-9d90-3591b80bc438" providerId="ADAL" clId="{A1BB9380-C3A6-4BB1-BECC-68ED57B5A022}" dt="2022-01-06T14:49:37.936" v="38"/>
          <ac:spMkLst>
            <pc:docMk/>
            <pc:sldMk cId="2995402291" sldId="302"/>
            <ac:spMk id="49" creationId="{2CC947B6-18B1-4E60-9BAF-563D3ADC66D8}"/>
          </ac:spMkLst>
        </pc:spChg>
        <pc:spChg chg="add mod">
          <ac:chgData name="PROVENCHERE Sandrine" userId="ad1decff-d2ce-4d29-9d90-3591b80bc438" providerId="ADAL" clId="{A1BB9380-C3A6-4BB1-BECC-68ED57B5A022}" dt="2022-01-12T09:53:32.665" v="2694" actId="20577"/>
          <ac:spMkLst>
            <pc:docMk/>
            <pc:sldMk cId="2995402291" sldId="302"/>
            <ac:spMk id="50" creationId="{B984A0F2-54E2-4B53-8C6A-685F7B89C6B7}"/>
          </ac:spMkLst>
        </pc:spChg>
        <pc:spChg chg="add mod ord">
          <ac:chgData name="PROVENCHERE Sandrine" userId="ad1decff-d2ce-4d29-9d90-3591b80bc438" providerId="ADAL" clId="{A1BB9380-C3A6-4BB1-BECC-68ED57B5A022}" dt="2022-01-06T14:51:30.423" v="52" actId="20577"/>
          <ac:spMkLst>
            <pc:docMk/>
            <pc:sldMk cId="2995402291" sldId="302"/>
            <ac:spMk id="51" creationId="{D01C249D-34D9-486D-98CC-0FA7B3A68DB0}"/>
          </ac:spMkLst>
        </pc:spChg>
        <pc:spChg chg="add mod">
          <ac:chgData name="PROVENCHERE Sandrine" userId="ad1decff-d2ce-4d29-9d90-3591b80bc438" providerId="ADAL" clId="{A1BB9380-C3A6-4BB1-BECC-68ED57B5A022}" dt="2022-01-06T14:49:37.936" v="38"/>
          <ac:spMkLst>
            <pc:docMk/>
            <pc:sldMk cId="2995402291" sldId="302"/>
            <ac:spMk id="53" creationId="{56CA5C19-2633-426F-9A71-81221161B1B5}"/>
          </ac:spMkLst>
        </pc:spChg>
        <pc:spChg chg="add mod">
          <ac:chgData name="PROVENCHERE Sandrine" userId="ad1decff-d2ce-4d29-9d90-3591b80bc438" providerId="ADAL" clId="{A1BB9380-C3A6-4BB1-BECC-68ED57B5A022}" dt="2022-01-06T14:49:37.936" v="38"/>
          <ac:spMkLst>
            <pc:docMk/>
            <pc:sldMk cId="2995402291" sldId="302"/>
            <ac:spMk id="54" creationId="{3968B298-3305-4995-9A59-72A9C467EFFF}"/>
          </ac:spMkLst>
        </pc:spChg>
        <pc:spChg chg="add del mod">
          <ac:chgData name="PROVENCHERE Sandrine" userId="ad1decff-d2ce-4d29-9d90-3591b80bc438" providerId="ADAL" clId="{A1BB9380-C3A6-4BB1-BECC-68ED57B5A022}" dt="2022-01-12T09:41:07.782" v="2500" actId="478"/>
          <ac:spMkLst>
            <pc:docMk/>
            <pc:sldMk cId="2995402291" sldId="302"/>
            <ac:spMk id="58" creationId="{8177E3AD-6021-4E74-A955-1D915B1ED64E}"/>
          </ac:spMkLst>
        </pc:spChg>
        <pc:spChg chg="del">
          <ac:chgData name="PROVENCHERE Sandrine" userId="ad1decff-d2ce-4d29-9d90-3591b80bc438" providerId="ADAL" clId="{A1BB9380-C3A6-4BB1-BECC-68ED57B5A022}" dt="2022-01-06T14:49:28.720" v="37" actId="478"/>
          <ac:spMkLst>
            <pc:docMk/>
            <pc:sldMk cId="2995402291" sldId="302"/>
            <ac:spMk id="58" creationId="{AC9AE5A4-21C1-4317-8B80-66170E80C14A}"/>
          </ac:spMkLst>
        </pc:spChg>
        <pc:spChg chg="add del mod">
          <ac:chgData name="PROVENCHERE Sandrine" userId="ad1decff-d2ce-4d29-9d90-3591b80bc438" providerId="ADAL" clId="{A1BB9380-C3A6-4BB1-BECC-68ED57B5A022}" dt="2022-01-12T09:43:10.142" v="2520" actId="478"/>
          <ac:spMkLst>
            <pc:docMk/>
            <pc:sldMk cId="2995402291" sldId="302"/>
            <ac:spMk id="59" creationId="{C51E76D8-6AEA-4EC0-942D-97EDFCCD0469}"/>
          </ac:spMkLst>
        </pc:spChg>
        <pc:spChg chg="add mod">
          <ac:chgData name="PROVENCHERE Sandrine" userId="ad1decff-d2ce-4d29-9d90-3591b80bc438" providerId="ADAL" clId="{A1BB9380-C3A6-4BB1-BECC-68ED57B5A022}" dt="2022-01-12T09:51:19.594" v="2629" actId="20577"/>
          <ac:spMkLst>
            <pc:docMk/>
            <pc:sldMk cId="2995402291" sldId="302"/>
            <ac:spMk id="60" creationId="{43AA6AD5-C0B1-46E6-8E97-EADC0AA34FD6}"/>
          </ac:spMkLst>
        </pc:spChg>
        <pc:spChg chg="add mod">
          <ac:chgData name="PROVENCHERE Sandrine" userId="ad1decff-d2ce-4d29-9d90-3591b80bc438" providerId="ADAL" clId="{A1BB9380-C3A6-4BB1-BECC-68ED57B5A022}" dt="2022-01-12T09:43:40.104" v="2563" actId="1036"/>
          <ac:spMkLst>
            <pc:docMk/>
            <pc:sldMk cId="2995402291" sldId="302"/>
            <ac:spMk id="61" creationId="{84A9ED51-9150-4B48-8158-DEE73DE24860}"/>
          </ac:spMkLst>
        </pc:spChg>
        <pc:spChg chg="add del mod">
          <ac:chgData name="PROVENCHERE Sandrine" userId="ad1decff-d2ce-4d29-9d90-3591b80bc438" providerId="ADAL" clId="{A1BB9380-C3A6-4BB1-BECC-68ED57B5A022}" dt="2022-01-12T09:43:05.815" v="2517" actId="478"/>
          <ac:spMkLst>
            <pc:docMk/>
            <pc:sldMk cId="2995402291" sldId="302"/>
            <ac:spMk id="62" creationId="{6DE20C17-BB82-412D-A336-F27C44558D2C}"/>
          </ac:spMkLst>
        </pc:spChg>
        <pc:spChg chg="add del mod">
          <ac:chgData name="PROVENCHERE Sandrine" userId="ad1decff-d2ce-4d29-9d90-3591b80bc438" providerId="ADAL" clId="{A1BB9380-C3A6-4BB1-BECC-68ED57B5A022}" dt="2022-01-12T09:41:25.143" v="2502" actId="478"/>
          <ac:spMkLst>
            <pc:docMk/>
            <pc:sldMk cId="2995402291" sldId="302"/>
            <ac:spMk id="63" creationId="{D3B4BE0F-B02A-4D75-911F-4C79AE17BDBC}"/>
          </ac:spMkLst>
        </pc:spChg>
        <pc:spChg chg="add del mod">
          <ac:chgData name="PROVENCHERE Sandrine" userId="ad1decff-d2ce-4d29-9d90-3591b80bc438" providerId="ADAL" clId="{A1BB9380-C3A6-4BB1-BECC-68ED57B5A022}" dt="2022-01-12T09:43:07.357" v="2518" actId="478"/>
          <ac:spMkLst>
            <pc:docMk/>
            <pc:sldMk cId="2995402291" sldId="302"/>
            <ac:spMk id="65" creationId="{83047F7D-DEB7-4F15-B5A3-0ECB6E5995C9}"/>
          </ac:spMkLst>
        </pc:spChg>
        <pc:spChg chg="add del mod">
          <ac:chgData name="PROVENCHERE Sandrine" userId="ad1decff-d2ce-4d29-9d90-3591b80bc438" providerId="ADAL" clId="{A1BB9380-C3A6-4BB1-BECC-68ED57B5A022}" dt="2022-01-12T09:43:04.390" v="2516" actId="478"/>
          <ac:spMkLst>
            <pc:docMk/>
            <pc:sldMk cId="2995402291" sldId="302"/>
            <ac:spMk id="66" creationId="{E4EDC263-7279-427D-A89C-F4A146477A46}"/>
          </ac:spMkLst>
        </pc:spChg>
        <pc:spChg chg="del">
          <ac:chgData name="PROVENCHERE Sandrine" userId="ad1decff-d2ce-4d29-9d90-3591b80bc438" providerId="ADAL" clId="{A1BB9380-C3A6-4BB1-BECC-68ED57B5A022}" dt="2022-01-06T14:49:28.720" v="37" actId="478"/>
          <ac:spMkLst>
            <pc:docMk/>
            <pc:sldMk cId="2995402291" sldId="302"/>
            <ac:spMk id="68" creationId="{8B5474E9-ED8B-4A56-8864-4723FCD2A666}"/>
          </ac:spMkLst>
        </pc:spChg>
        <pc:spChg chg="del">
          <ac:chgData name="PROVENCHERE Sandrine" userId="ad1decff-d2ce-4d29-9d90-3591b80bc438" providerId="ADAL" clId="{A1BB9380-C3A6-4BB1-BECC-68ED57B5A022}" dt="2022-01-06T14:49:28.720" v="37" actId="478"/>
          <ac:spMkLst>
            <pc:docMk/>
            <pc:sldMk cId="2995402291" sldId="302"/>
            <ac:spMk id="69" creationId="{73EFBF5E-68E5-425C-9E7B-6283D880EB04}"/>
          </ac:spMkLst>
        </pc:spChg>
        <pc:spChg chg="del">
          <ac:chgData name="PROVENCHERE Sandrine" userId="ad1decff-d2ce-4d29-9d90-3591b80bc438" providerId="ADAL" clId="{A1BB9380-C3A6-4BB1-BECC-68ED57B5A022}" dt="2022-01-06T14:49:28.720" v="37" actId="478"/>
          <ac:spMkLst>
            <pc:docMk/>
            <pc:sldMk cId="2995402291" sldId="302"/>
            <ac:spMk id="70" creationId="{5D246083-010F-4C9B-9CD8-31978639B100}"/>
          </ac:spMkLst>
        </pc:spChg>
        <pc:spChg chg="add del mod">
          <ac:chgData name="PROVENCHERE Sandrine" userId="ad1decff-d2ce-4d29-9d90-3591b80bc438" providerId="ADAL" clId="{A1BB9380-C3A6-4BB1-BECC-68ED57B5A022}" dt="2022-01-12T09:43:08.706" v="2519" actId="478"/>
          <ac:spMkLst>
            <pc:docMk/>
            <pc:sldMk cId="2995402291" sldId="302"/>
            <ac:spMk id="71" creationId="{6D285ADC-96FD-434D-B048-834D19FA8FD5}"/>
          </ac:spMkLst>
        </pc:spChg>
        <pc:spChg chg="del">
          <ac:chgData name="PROVENCHERE Sandrine" userId="ad1decff-d2ce-4d29-9d90-3591b80bc438" providerId="ADAL" clId="{A1BB9380-C3A6-4BB1-BECC-68ED57B5A022}" dt="2022-01-06T14:49:28.720" v="37" actId="478"/>
          <ac:spMkLst>
            <pc:docMk/>
            <pc:sldMk cId="2995402291" sldId="302"/>
            <ac:spMk id="72" creationId="{6FBFF67A-440C-4BF4-909A-C9FBD29357D0}"/>
          </ac:spMkLst>
        </pc:spChg>
        <pc:spChg chg="add mod ord">
          <ac:chgData name="PROVENCHERE Sandrine" userId="ad1decff-d2ce-4d29-9d90-3591b80bc438" providerId="ADAL" clId="{A1BB9380-C3A6-4BB1-BECC-68ED57B5A022}" dt="2022-01-12T09:15:21.209" v="1823" actId="20577"/>
          <ac:spMkLst>
            <pc:docMk/>
            <pc:sldMk cId="2995402291" sldId="302"/>
            <ac:spMk id="74" creationId="{894B481D-65B1-4119-8FC1-A07A2712B683}"/>
          </ac:spMkLst>
        </pc:spChg>
        <pc:spChg chg="add mod ord">
          <ac:chgData name="PROVENCHERE Sandrine" userId="ad1decff-d2ce-4d29-9d90-3591b80bc438" providerId="ADAL" clId="{A1BB9380-C3A6-4BB1-BECC-68ED57B5A022}" dt="2022-01-12T09:17:00.180" v="1878" actId="1035"/>
          <ac:spMkLst>
            <pc:docMk/>
            <pc:sldMk cId="2995402291" sldId="302"/>
            <ac:spMk id="77" creationId="{1506EE57-ED54-434D-A412-FF7724036FB2}"/>
          </ac:spMkLst>
        </pc:spChg>
        <pc:spChg chg="add mod ord">
          <ac:chgData name="PROVENCHERE Sandrine" userId="ad1decff-d2ce-4d29-9d90-3591b80bc438" providerId="ADAL" clId="{A1BB9380-C3A6-4BB1-BECC-68ED57B5A022}" dt="2022-01-12T09:21:18.903" v="1884" actId="20577"/>
          <ac:spMkLst>
            <pc:docMk/>
            <pc:sldMk cId="2995402291" sldId="302"/>
            <ac:spMk id="78" creationId="{C3928C14-E6AA-4D55-932C-AC1BF2146E9F}"/>
          </ac:spMkLst>
        </pc:spChg>
        <pc:spChg chg="add mod">
          <ac:chgData name="PROVENCHERE Sandrine" userId="ad1decff-d2ce-4d29-9d90-3591b80bc438" providerId="ADAL" clId="{A1BB9380-C3A6-4BB1-BECC-68ED57B5A022}" dt="2022-01-06T14:49:37.936" v="38"/>
          <ac:spMkLst>
            <pc:docMk/>
            <pc:sldMk cId="2995402291" sldId="302"/>
            <ac:spMk id="81" creationId="{14CC7668-9B94-45D6-8EAD-AB31BE93E605}"/>
          </ac:spMkLst>
        </pc:spChg>
        <pc:spChg chg="add mod">
          <ac:chgData name="PROVENCHERE Sandrine" userId="ad1decff-d2ce-4d29-9d90-3591b80bc438" providerId="ADAL" clId="{A1BB9380-C3A6-4BB1-BECC-68ED57B5A022}" dt="2022-01-12T09:54:09.590" v="2728" actId="20577"/>
          <ac:spMkLst>
            <pc:docMk/>
            <pc:sldMk cId="2995402291" sldId="302"/>
            <ac:spMk id="83" creationId="{92968621-37D2-4BCE-9B0E-F381686BE28F}"/>
          </ac:spMkLst>
        </pc:spChg>
        <pc:spChg chg="add mod">
          <ac:chgData name="PROVENCHERE Sandrine" userId="ad1decff-d2ce-4d29-9d90-3591b80bc438" providerId="ADAL" clId="{A1BB9380-C3A6-4BB1-BECC-68ED57B5A022}" dt="2022-01-06T14:51:25.250" v="48" actId="20577"/>
          <ac:spMkLst>
            <pc:docMk/>
            <pc:sldMk cId="2995402291" sldId="302"/>
            <ac:spMk id="84" creationId="{48AA020A-78EB-43F9-ABBA-AC4C5BD8257D}"/>
          </ac:spMkLst>
        </pc:spChg>
        <pc:spChg chg="add mod">
          <ac:chgData name="PROVENCHERE Sandrine" userId="ad1decff-d2ce-4d29-9d90-3591b80bc438" providerId="ADAL" clId="{A1BB9380-C3A6-4BB1-BECC-68ED57B5A022}" dt="2022-01-12T09:50:49.132" v="2622" actId="1037"/>
          <ac:spMkLst>
            <pc:docMk/>
            <pc:sldMk cId="2995402291" sldId="302"/>
            <ac:spMk id="85" creationId="{BAE9D0E8-AA60-442B-A145-93B8A6F6514C}"/>
          </ac:spMkLst>
        </pc:spChg>
        <pc:spChg chg="del">
          <ac:chgData name="PROVENCHERE Sandrine" userId="ad1decff-d2ce-4d29-9d90-3591b80bc438" providerId="ADAL" clId="{A1BB9380-C3A6-4BB1-BECC-68ED57B5A022}" dt="2022-01-06T14:49:28.720" v="37" actId="478"/>
          <ac:spMkLst>
            <pc:docMk/>
            <pc:sldMk cId="2995402291" sldId="302"/>
            <ac:spMk id="98" creationId="{36B65000-BE90-4DC0-B063-1E0C6DC8E64A}"/>
          </ac:spMkLst>
        </pc:spChg>
        <pc:spChg chg="del">
          <ac:chgData name="PROVENCHERE Sandrine" userId="ad1decff-d2ce-4d29-9d90-3591b80bc438" providerId="ADAL" clId="{A1BB9380-C3A6-4BB1-BECC-68ED57B5A022}" dt="2022-01-06T14:49:28.720" v="37" actId="478"/>
          <ac:spMkLst>
            <pc:docMk/>
            <pc:sldMk cId="2995402291" sldId="302"/>
            <ac:spMk id="100" creationId="{D6037D18-8E6A-4999-B3CD-D6696E7C8D29}"/>
          </ac:spMkLst>
        </pc:spChg>
        <pc:spChg chg="del">
          <ac:chgData name="PROVENCHERE Sandrine" userId="ad1decff-d2ce-4d29-9d90-3591b80bc438" providerId="ADAL" clId="{A1BB9380-C3A6-4BB1-BECC-68ED57B5A022}" dt="2022-01-06T14:49:28.720" v="37" actId="478"/>
          <ac:spMkLst>
            <pc:docMk/>
            <pc:sldMk cId="2995402291" sldId="302"/>
            <ac:spMk id="102" creationId="{C109BD84-4ECE-41E7-A595-53FBB9E269E4}"/>
          </ac:spMkLst>
        </pc:spChg>
        <pc:spChg chg="del">
          <ac:chgData name="PROVENCHERE Sandrine" userId="ad1decff-d2ce-4d29-9d90-3591b80bc438" providerId="ADAL" clId="{A1BB9380-C3A6-4BB1-BECC-68ED57B5A022}" dt="2022-01-06T14:49:28.720" v="37" actId="478"/>
          <ac:spMkLst>
            <pc:docMk/>
            <pc:sldMk cId="2995402291" sldId="302"/>
            <ac:spMk id="103" creationId="{2DFFD46C-FFA4-47CB-9E16-BB7EFFAE0DEF}"/>
          </ac:spMkLst>
        </pc:spChg>
        <pc:spChg chg="del">
          <ac:chgData name="PROVENCHERE Sandrine" userId="ad1decff-d2ce-4d29-9d90-3591b80bc438" providerId="ADAL" clId="{A1BB9380-C3A6-4BB1-BECC-68ED57B5A022}" dt="2022-01-06T14:49:28.720" v="37" actId="478"/>
          <ac:spMkLst>
            <pc:docMk/>
            <pc:sldMk cId="2995402291" sldId="302"/>
            <ac:spMk id="105" creationId="{CACBE0A4-49BF-44E3-8C80-6468118A5003}"/>
          </ac:spMkLst>
        </pc:spChg>
        <pc:spChg chg="del">
          <ac:chgData name="PROVENCHERE Sandrine" userId="ad1decff-d2ce-4d29-9d90-3591b80bc438" providerId="ADAL" clId="{A1BB9380-C3A6-4BB1-BECC-68ED57B5A022}" dt="2022-01-06T14:49:28.720" v="37" actId="478"/>
          <ac:spMkLst>
            <pc:docMk/>
            <pc:sldMk cId="2995402291" sldId="302"/>
            <ac:spMk id="106" creationId="{5C23025C-ABF2-4F91-95FF-0E90933945D8}"/>
          </ac:spMkLst>
        </pc:spChg>
        <pc:spChg chg="del">
          <ac:chgData name="PROVENCHERE Sandrine" userId="ad1decff-d2ce-4d29-9d90-3591b80bc438" providerId="ADAL" clId="{A1BB9380-C3A6-4BB1-BECC-68ED57B5A022}" dt="2022-01-06T14:49:28.720" v="37" actId="478"/>
          <ac:spMkLst>
            <pc:docMk/>
            <pc:sldMk cId="2995402291" sldId="302"/>
            <ac:spMk id="121" creationId="{CF6FD9A7-F4F8-4EAA-9723-23B26D03E5D6}"/>
          </ac:spMkLst>
        </pc:spChg>
        <pc:spChg chg="del">
          <ac:chgData name="PROVENCHERE Sandrine" userId="ad1decff-d2ce-4d29-9d90-3591b80bc438" providerId="ADAL" clId="{A1BB9380-C3A6-4BB1-BECC-68ED57B5A022}" dt="2022-01-06T14:49:28.720" v="37" actId="478"/>
          <ac:spMkLst>
            <pc:docMk/>
            <pc:sldMk cId="2995402291" sldId="302"/>
            <ac:spMk id="240" creationId="{4BFD82B9-2B97-400C-8DA4-4E07A801D006}"/>
          </ac:spMkLst>
        </pc:spChg>
        <pc:spChg chg="del">
          <ac:chgData name="PROVENCHERE Sandrine" userId="ad1decff-d2ce-4d29-9d90-3591b80bc438" providerId="ADAL" clId="{A1BB9380-C3A6-4BB1-BECC-68ED57B5A022}" dt="2022-01-06T14:49:28.720" v="37" actId="478"/>
          <ac:spMkLst>
            <pc:docMk/>
            <pc:sldMk cId="2995402291" sldId="302"/>
            <ac:spMk id="253" creationId="{5B7BEAA7-762F-4520-BAD8-1384991C01A8}"/>
          </ac:spMkLst>
        </pc:spChg>
        <pc:spChg chg="del mod modVis">
          <ac:chgData name="PROVENCHERE Sandrine" userId="ad1decff-d2ce-4d29-9d90-3591b80bc438" providerId="ADAL" clId="{A1BB9380-C3A6-4BB1-BECC-68ED57B5A022}" dt="2022-01-12T09:55:56.943" v="2757" actId="478"/>
          <ac:spMkLst>
            <pc:docMk/>
            <pc:sldMk cId="2995402291" sldId="302"/>
            <ac:spMk id="290" creationId="{63663CCE-F698-4769-A5BD-BAF749BF3F4B}"/>
          </ac:spMkLst>
        </pc:spChg>
        <pc:spChg chg="del">
          <ac:chgData name="PROVENCHERE Sandrine" userId="ad1decff-d2ce-4d29-9d90-3591b80bc438" providerId="ADAL" clId="{A1BB9380-C3A6-4BB1-BECC-68ED57B5A022}" dt="2022-01-06T14:49:28.720" v="37" actId="478"/>
          <ac:spMkLst>
            <pc:docMk/>
            <pc:sldMk cId="2995402291" sldId="302"/>
            <ac:spMk id="295" creationId="{8CB4C2FD-367C-4879-8586-35DF1CE6DBB3}"/>
          </ac:spMkLst>
        </pc:spChg>
        <pc:grpChg chg="add mod">
          <ac:chgData name="PROVENCHERE Sandrine" userId="ad1decff-d2ce-4d29-9d90-3591b80bc438" providerId="ADAL" clId="{A1BB9380-C3A6-4BB1-BECC-68ED57B5A022}" dt="2022-01-12T09:43:31.670" v="2538" actId="1036"/>
          <ac:grpSpMkLst>
            <pc:docMk/>
            <pc:sldMk cId="2995402291" sldId="302"/>
            <ac:grpSpMk id="5" creationId="{7D0EE908-0CEC-4879-B480-E867F5F4279D}"/>
          </ac:grpSpMkLst>
        </pc:grpChg>
        <pc:graphicFrameChg chg="del mod modVis">
          <ac:chgData name="PROVENCHERE Sandrine" userId="ad1decff-d2ce-4d29-9d90-3591b80bc438" providerId="ADAL" clId="{A1BB9380-C3A6-4BB1-BECC-68ED57B5A022}" dt="2022-01-12T09:55:48.901" v="2753" actId="478"/>
          <ac:graphicFrameMkLst>
            <pc:docMk/>
            <pc:sldMk cId="2995402291" sldId="302"/>
            <ac:graphicFrameMk id="31" creationId="{CF982A77-D6AC-4875-925C-A532A98C6114}"/>
          </ac:graphicFrameMkLst>
        </pc:graphicFrameChg>
        <pc:graphicFrameChg chg="add del mod modVis">
          <ac:chgData name="PROVENCHERE Sandrine" userId="ad1decff-d2ce-4d29-9d90-3591b80bc438" providerId="ADAL" clId="{A1BB9380-C3A6-4BB1-BECC-68ED57B5A022}" dt="2022-01-12T09:55:25.672" v="2742" actId="13244"/>
          <ac:graphicFrameMkLst>
            <pc:docMk/>
            <pc:sldMk cId="2995402291" sldId="302"/>
            <ac:graphicFrameMk id="57" creationId="{F44AF439-7F5D-471A-A3D4-B08ECE69CBA8}"/>
          </ac:graphicFrameMkLst>
        </pc:graphicFrameChg>
        <pc:graphicFrameChg chg="add del mod">
          <ac:chgData name="PROVENCHERE Sandrine" userId="ad1decff-d2ce-4d29-9d90-3591b80bc438" providerId="ADAL" clId="{A1BB9380-C3A6-4BB1-BECC-68ED57B5A022}" dt="2022-01-12T09:13:53.536" v="1797" actId="478"/>
          <ac:graphicFrameMkLst>
            <pc:docMk/>
            <pc:sldMk cId="2995402291" sldId="302"/>
            <ac:graphicFrameMk id="73" creationId="{22125596-BBD9-4866-87AA-901A23840542}"/>
          </ac:graphicFrameMkLst>
        </pc:graphicFrameChg>
        <pc:graphicFrameChg chg="add mod">
          <ac:chgData name="PROVENCHERE Sandrine" userId="ad1decff-d2ce-4d29-9d90-3591b80bc438" providerId="ADAL" clId="{A1BB9380-C3A6-4BB1-BECC-68ED57B5A022}" dt="2022-01-12T09:51:31.061" v="2630" actId="207"/>
          <ac:graphicFrameMkLst>
            <pc:docMk/>
            <pc:sldMk cId="2995402291" sldId="302"/>
            <ac:graphicFrameMk id="90" creationId="{D3441E28-3977-45E8-B53B-4DB7D058BBEC}"/>
          </ac:graphicFrameMkLst>
        </pc:graphicFrameChg>
        <pc:picChg chg="add del mod modCrop">
          <ac:chgData name="PROVENCHERE Sandrine" userId="ad1decff-d2ce-4d29-9d90-3591b80bc438" providerId="ADAL" clId="{A1BB9380-C3A6-4BB1-BECC-68ED57B5A022}" dt="2022-01-12T09:45:01.140" v="2570" actId="478"/>
          <ac:picMkLst>
            <pc:docMk/>
            <pc:sldMk cId="2995402291" sldId="302"/>
            <ac:picMk id="4" creationId="{B2AE8CBA-04E5-4417-9D41-3B0AD340097D}"/>
          </ac:picMkLst>
        </pc:picChg>
        <pc:picChg chg="add del mod modCrop">
          <ac:chgData name="PROVENCHERE Sandrine" userId="ad1decff-d2ce-4d29-9d90-3591b80bc438" providerId="ADAL" clId="{A1BB9380-C3A6-4BB1-BECC-68ED57B5A022}" dt="2022-01-12T09:48:33.241" v="2583" actId="478"/>
          <ac:picMkLst>
            <pc:docMk/>
            <pc:sldMk cId="2995402291" sldId="302"/>
            <ac:picMk id="9" creationId="{4D969D4E-F292-4556-B975-39448E94D338}"/>
          </ac:picMkLst>
        </pc:picChg>
        <pc:picChg chg="del">
          <ac:chgData name="PROVENCHERE Sandrine" userId="ad1decff-d2ce-4d29-9d90-3591b80bc438" providerId="ADAL" clId="{A1BB9380-C3A6-4BB1-BECC-68ED57B5A022}" dt="2022-01-06T14:49:28.720" v="37" actId="478"/>
          <ac:picMkLst>
            <pc:docMk/>
            <pc:sldMk cId="2995402291" sldId="302"/>
            <ac:picMk id="14" creationId="{1A43A62B-5BE4-467A-BA45-C6A8E99A1C33}"/>
          </ac:picMkLst>
        </pc:picChg>
        <pc:picChg chg="del">
          <ac:chgData name="PROVENCHERE Sandrine" userId="ad1decff-d2ce-4d29-9d90-3591b80bc438" providerId="ADAL" clId="{A1BB9380-C3A6-4BB1-BECC-68ED57B5A022}" dt="2022-01-06T14:49:28.720" v="37" actId="478"/>
          <ac:picMkLst>
            <pc:docMk/>
            <pc:sldMk cId="2995402291" sldId="302"/>
            <ac:picMk id="17" creationId="{E00F00A3-74D7-49A6-9197-963152D568E9}"/>
          </ac:picMkLst>
        </pc:picChg>
        <pc:picChg chg="del">
          <ac:chgData name="PROVENCHERE Sandrine" userId="ad1decff-d2ce-4d29-9d90-3591b80bc438" providerId="ADAL" clId="{A1BB9380-C3A6-4BB1-BECC-68ED57B5A022}" dt="2022-01-06T14:49:28.720" v="37" actId="478"/>
          <ac:picMkLst>
            <pc:docMk/>
            <pc:sldMk cId="2995402291" sldId="302"/>
            <ac:picMk id="22" creationId="{37AA8928-67AD-4311-89BE-BC6C689BDF69}"/>
          </ac:picMkLst>
        </pc:picChg>
        <pc:picChg chg="del">
          <ac:chgData name="PROVENCHERE Sandrine" userId="ad1decff-d2ce-4d29-9d90-3591b80bc438" providerId="ADAL" clId="{A1BB9380-C3A6-4BB1-BECC-68ED57B5A022}" dt="2022-01-06T14:49:28.720" v="37" actId="478"/>
          <ac:picMkLst>
            <pc:docMk/>
            <pc:sldMk cId="2995402291" sldId="302"/>
            <ac:picMk id="25" creationId="{A0FDEF61-EA70-4D4C-B241-7B83B66EF999}"/>
          </ac:picMkLst>
        </pc:picChg>
        <pc:picChg chg="add mod">
          <ac:chgData name="PROVENCHERE Sandrine" userId="ad1decff-d2ce-4d29-9d90-3591b80bc438" providerId="ADAL" clId="{A1BB9380-C3A6-4BB1-BECC-68ED57B5A022}" dt="2022-01-06T14:49:37.936" v="38"/>
          <ac:picMkLst>
            <pc:docMk/>
            <pc:sldMk cId="2995402291" sldId="302"/>
            <ac:picMk id="42" creationId="{B2DCE5DF-A766-45E4-8EF2-0BA019B19F22}"/>
          </ac:picMkLst>
        </pc:picChg>
        <pc:picChg chg="add del mod">
          <ac:chgData name="PROVENCHERE Sandrine" userId="ad1decff-d2ce-4d29-9d90-3591b80bc438" providerId="ADAL" clId="{A1BB9380-C3A6-4BB1-BECC-68ED57B5A022}" dt="2022-01-12T09:21:50.152" v="1885" actId="478"/>
          <ac:picMkLst>
            <pc:docMk/>
            <pc:sldMk cId="2995402291" sldId="302"/>
            <ac:picMk id="52" creationId="{17F09026-0FBB-4542-99B7-7A5BAC71C23A}"/>
          </ac:picMkLst>
        </pc:picChg>
        <pc:picChg chg="add mod">
          <ac:chgData name="PROVENCHERE Sandrine" userId="ad1decff-d2ce-4d29-9d90-3591b80bc438" providerId="ADAL" clId="{A1BB9380-C3A6-4BB1-BECC-68ED57B5A022}" dt="2022-01-12T09:42:59.585" v="2515" actId="164"/>
          <ac:picMkLst>
            <pc:docMk/>
            <pc:sldMk cId="2995402291" sldId="302"/>
            <ac:picMk id="67" creationId="{90B4CC71-7EFA-4B85-9434-A181EE331E0A}"/>
          </ac:picMkLst>
        </pc:picChg>
        <pc:picChg chg="add mod">
          <ac:chgData name="PROVENCHERE Sandrine" userId="ad1decff-d2ce-4d29-9d90-3591b80bc438" providerId="ADAL" clId="{A1BB9380-C3A6-4BB1-BECC-68ED57B5A022}" dt="2022-01-12T09:42:59.585" v="2515" actId="164"/>
          <ac:picMkLst>
            <pc:docMk/>
            <pc:sldMk cId="2995402291" sldId="302"/>
            <ac:picMk id="68" creationId="{8336FEFB-EE19-437A-A563-E19F0428E47B}"/>
          </ac:picMkLst>
        </pc:picChg>
        <pc:picChg chg="add mod">
          <ac:chgData name="PROVENCHERE Sandrine" userId="ad1decff-d2ce-4d29-9d90-3591b80bc438" providerId="ADAL" clId="{A1BB9380-C3A6-4BB1-BECC-68ED57B5A022}" dt="2022-01-12T09:42:59.585" v="2515" actId="164"/>
          <ac:picMkLst>
            <pc:docMk/>
            <pc:sldMk cId="2995402291" sldId="302"/>
            <ac:picMk id="69" creationId="{4D89137E-31F8-4556-9B51-30B140E356B8}"/>
          </ac:picMkLst>
        </pc:picChg>
        <pc:picChg chg="add mod">
          <ac:chgData name="PROVENCHERE Sandrine" userId="ad1decff-d2ce-4d29-9d90-3591b80bc438" providerId="ADAL" clId="{A1BB9380-C3A6-4BB1-BECC-68ED57B5A022}" dt="2022-01-12T09:42:59.585" v="2515" actId="164"/>
          <ac:picMkLst>
            <pc:docMk/>
            <pc:sldMk cId="2995402291" sldId="302"/>
            <ac:picMk id="70" creationId="{73043837-54EB-4B78-8CE0-348F2592EE30}"/>
          </ac:picMkLst>
        </pc:picChg>
        <pc:picChg chg="add mod">
          <ac:chgData name="PROVENCHERE Sandrine" userId="ad1decff-d2ce-4d29-9d90-3591b80bc438" providerId="ADAL" clId="{A1BB9380-C3A6-4BB1-BECC-68ED57B5A022}" dt="2022-01-12T09:42:59.585" v="2515" actId="164"/>
          <ac:picMkLst>
            <pc:docMk/>
            <pc:sldMk cId="2995402291" sldId="302"/>
            <ac:picMk id="72" creationId="{414DB5BF-9BC4-45B1-817C-945145F662DA}"/>
          </ac:picMkLst>
        </pc:picChg>
        <pc:picChg chg="add mod">
          <ac:chgData name="PROVENCHERE Sandrine" userId="ad1decff-d2ce-4d29-9d90-3591b80bc438" providerId="ADAL" clId="{A1BB9380-C3A6-4BB1-BECC-68ED57B5A022}" dt="2022-01-06T14:49:37.936" v="38"/>
          <ac:picMkLst>
            <pc:docMk/>
            <pc:sldMk cId="2995402291" sldId="302"/>
            <ac:picMk id="79" creationId="{9763021C-C2DB-419E-B80E-195BE74FAD6E}"/>
          </ac:picMkLst>
        </pc:picChg>
        <pc:picChg chg="add mod">
          <ac:chgData name="PROVENCHERE Sandrine" userId="ad1decff-d2ce-4d29-9d90-3591b80bc438" providerId="ADAL" clId="{A1BB9380-C3A6-4BB1-BECC-68ED57B5A022}" dt="2022-01-06T14:49:37.936" v="38"/>
          <ac:picMkLst>
            <pc:docMk/>
            <pc:sldMk cId="2995402291" sldId="302"/>
            <ac:picMk id="80" creationId="{FCA51CBB-E411-479D-BC04-F62205751470}"/>
          </ac:picMkLst>
        </pc:picChg>
        <pc:picChg chg="add mod">
          <ac:chgData name="PROVENCHERE Sandrine" userId="ad1decff-d2ce-4d29-9d90-3591b80bc438" providerId="ADAL" clId="{A1BB9380-C3A6-4BB1-BECC-68ED57B5A022}" dt="2022-01-06T14:49:37.936" v="38"/>
          <ac:picMkLst>
            <pc:docMk/>
            <pc:sldMk cId="2995402291" sldId="302"/>
            <ac:picMk id="82" creationId="{5A6460C3-4872-4982-A6F1-9B93A3593106}"/>
          </ac:picMkLst>
        </pc:picChg>
        <pc:picChg chg="add mod">
          <ac:chgData name="PROVENCHERE Sandrine" userId="ad1decff-d2ce-4d29-9d90-3591b80bc438" providerId="ADAL" clId="{A1BB9380-C3A6-4BB1-BECC-68ED57B5A022}" dt="2022-01-12T09:42:59.585" v="2515" actId="164"/>
          <ac:picMkLst>
            <pc:docMk/>
            <pc:sldMk cId="2995402291" sldId="302"/>
            <ac:picMk id="86" creationId="{B73D2F77-1DF0-4A1E-B414-7AD2A465767D}"/>
          </ac:picMkLst>
        </pc:picChg>
        <pc:picChg chg="add mod">
          <ac:chgData name="PROVENCHERE Sandrine" userId="ad1decff-d2ce-4d29-9d90-3591b80bc438" providerId="ADAL" clId="{A1BB9380-C3A6-4BB1-BECC-68ED57B5A022}" dt="2022-01-12T09:42:59.585" v="2515" actId="164"/>
          <ac:picMkLst>
            <pc:docMk/>
            <pc:sldMk cId="2995402291" sldId="302"/>
            <ac:picMk id="87" creationId="{D8B0D333-E048-4782-A7FA-42D3DCBE988B}"/>
          </ac:picMkLst>
        </pc:picChg>
        <pc:picChg chg="add mod">
          <ac:chgData name="PROVENCHERE Sandrine" userId="ad1decff-d2ce-4d29-9d90-3591b80bc438" providerId="ADAL" clId="{A1BB9380-C3A6-4BB1-BECC-68ED57B5A022}" dt="2022-01-12T09:42:59.585" v="2515" actId="164"/>
          <ac:picMkLst>
            <pc:docMk/>
            <pc:sldMk cId="2995402291" sldId="302"/>
            <ac:picMk id="88" creationId="{6B205B31-813D-4DCD-B732-204D7739F85E}"/>
          </ac:picMkLst>
        </pc:picChg>
        <pc:picChg chg="add mod">
          <ac:chgData name="PROVENCHERE Sandrine" userId="ad1decff-d2ce-4d29-9d90-3591b80bc438" providerId="ADAL" clId="{A1BB9380-C3A6-4BB1-BECC-68ED57B5A022}" dt="2022-01-12T09:42:59.585" v="2515" actId="164"/>
          <ac:picMkLst>
            <pc:docMk/>
            <pc:sldMk cId="2995402291" sldId="302"/>
            <ac:picMk id="89" creationId="{7AD59BDB-CC8A-4C4E-8178-BBB8A73011D0}"/>
          </ac:picMkLst>
        </pc:picChg>
        <pc:picChg chg="del">
          <ac:chgData name="PROVENCHERE Sandrine" userId="ad1decff-d2ce-4d29-9d90-3591b80bc438" providerId="ADAL" clId="{A1BB9380-C3A6-4BB1-BECC-68ED57B5A022}" dt="2022-01-06T14:49:28.720" v="37" actId="478"/>
          <ac:picMkLst>
            <pc:docMk/>
            <pc:sldMk cId="2995402291" sldId="302"/>
            <ac:picMk id="104" creationId="{66215C4C-F251-4190-B785-4C69A17BD2ED}"/>
          </ac:picMkLst>
        </pc:picChg>
        <pc:cxnChg chg="add mod">
          <ac:chgData name="PROVENCHERE Sandrine" userId="ad1decff-d2ce-4d29-9d90-3591b80bc438" providerId="ADAL" clId="{A1BB9380-C3A6-4BB1-BECC-68ED57B5A022}" dt="2022-01-06T14:49:37.936" v="38"/>
          <ac:cxnSpMkLst>
            <pc:docMk/>
            <pc:sldMk cId="2995402291" sldId="302"/>
            <ac:cxnSpMk id="55" creationId="{FE988EC4-215B-4EFD-B017-C04A25F5E4BC}"/>
          </ac:cxnSpMkLst>
        </pc:cxnChg>
        <pc:cxnChg chg="add mod">
          <ac:chgData name="PROVENCHERE Sandrine" userId="ad1decff-d2ce-4d29-9d90-3591b80bc438" providerId="ADAL" clId="{A1BB9380-C3A6-4BB1-BECC-68ED57B5A022}" dt="2022-01-06T14:49:37.936" v="38"/>
          <ac:cxnSpMkLst>
            <pc:docMk/>
            <pc:sldMk cId="2995402291" sldId="302"/>
            <ac:cxnSpMk id="56" creationId="{7D26746A-EED6-4425-95A4-1578EBBB28EC}"/>
          </ac:cxnSpMkLst>
        </pc:cxnChg>
        <pc:cxnChg chg="del">
          <ac:chgData name="PROVENCHERE Sandrine" userId="ad1decff-d2ce-4d29-9d90-3591b80bc438" providerId="ADAL" clId="{A1BB9380-C3A6-4BB1-BECC-68ED57B5A022}" dt="2022-01-06T14:49:28.720" v="37" actId="478"/>
          <ac:cxnSpMkLst>
            <pc:docMk/>
            <pc:sldMk cId="2995402291" sldId="302"/>
            <ac:cxnSpMk id="60" creationId="{F99C42E3-3A35-4FA0-A3FA-228387D0B26E}"/>
          </ac:cxnSpMkLst>
        </pc:cxnChg>
        <pc:cxnChg chg="del">
          <ac:chgData name="PROVENCHERE Sandrine" userId="ad1decff-d2ce-4d29-9d90-3591b80bc438" providerId="ADAL" clId="{A1BB9380-C3A6-4BB1-BECC-68ED57B5A022}" dt="2022-01-06T14:49:28.720" v="37" actId="478"/>
          <ac:cxnSpMkLst>
            <pc:docMk/>
            <pc:sldMk cId="2995402291" sldId="302"/>
            <ac:cxnSpMk id="61" creationId="{F90E6205-6A3A-4833-AE43-2E20DF49B050}"/>
          </ac:cxnSpMkLst>
        </pc:cxnChg>
        <pc:cxnChg chg="del">
          <ac:chgData name="PROVENCHERE Sandrine" userId="ad1decff-d2ce-4d29-9d90-3591b80bc438" providerId="ADAL" clId="{A1BB9380-C3A6-4BB1-BECC-68ED57B5A022}" dt="2022-01-06T14:49:28.720" v="37" actId="478"/>
          <ac:cxnSpMkLst>
            <pc:docMk/>
            <pc:sldMk cId="2995402291" sldId="302"/>
            <ac:cxnSpMk id="67" creationId="{0B4D60A0-8E07-4879-A70E-A2C3222F43B1}"/>
          </ac:cxnSpMkLst>
        </pc:cxnChg>
        <pc:cxnChg chg="add mod ord">
          <ac:chgData name="PROVENCHERE Sandrine" userId="ad1decff-d2ce-4d29-9d90-3591b80bc438" providerId="ADAL" clId="{A1BB9380-C3A6-4BB1-BECC-68ED57B5A022}" dt="2022-01-12T09:16:53.873" v="1872" actId="1035"/>
          <ac:cxnSpMkLst>
            <pc:docMk/>
            <pc:sldMk cId="2995402291" sldId="302"/>
            <ac:cxnSpMk id="75" creationId="{73376ACF-074E-4DC7-8F52-9D573DDE98D6}"/>
          </ac:cxnSpMkLst>
        </pc:cxnChg>
        <pc:cxnChg chg="add mod ord">
          <ac:chgData name="PROVENCHERE Sandrine" userId="ad1decff-d2ce-4d29-9d90-3591b80bc438" providerId="ADAL" clId="{A1BB9380-C3A6-4BB1-BECC-68ED57B5A022}" dt="2022-01-12T09:16:46.255" v="1863"/>
          <ac:cxnSpMkLst>
            <pc:docMk/>
            <pc:sldMk cId="2995402291" sldId="302"/>
            <ac:cxnSpMk id="76" creationId="{EA9439CA-A3D9-4D18-9E96-E6C6E8C2C37D}"/>
          </ac:cxnSpMkLst>
        </pc:cxnChg>
        <pc:cxnChg chg="del">
          <ac:chgData name="PROVENCHERE Sandrine" userId="ad1decff-d2ce-4d29-9d90-3591b80bc438" providerId="ADAL" clId="{A1BB9380-C3A6-4BB1-BECC-68ED57B5A022}" dt="2022-01-06T14:49:28.720" v="37" actId="478"/>
          <ac:cxnSpMkLst>
            <pc:docMk/>
            <pc:sldMk cId="2995402291" sldId="302"/>
            <ac:cxnSpMk id="241" creationId="{8D72865D-2B00-4738-A799-D04F074D05F0}"/>
          </ac:cxnSpMkLst>
        </pc:cxnChg>
        <pc:cxnChg chg="del">
          <ac:chgData name="PROVENCHERE Sandrine" userId="ad1decff-d2ce-4d29-9d90-3591b80bc438" providerId="ADAL" clId="{A1BB9380-C3A6-4BB1-BECC-68ED57B5A022}" dt="2022-01-06T14:49:28.720" v="37" actId="478"/>
          <ac:cxnSpMkLst>
            <pc:docMk/>
            <pc:sldMk cId="2995402291" sldId="302"/>
            <ac:cxnSpMk id="242" creationId="{53E0D234-6E24-49BC-A813-740A80CE002B}"/>
          </ac:cxnSpMkLst>
        </pc:cxnChg>
      </pc:sldChg>
      <pc:sldChg chg="addSp delSp modSp mod">
        <pc:chgData name="PROVENCHERE Sandrine" userId="ad1decff-d2ce-4d29-9d90-3591b80bc438" providerId="ADAL" clId="{A1BB9380-C3A6-4BB1-BECC-68ED57B5A022}" dt="2022-01-12T09:57:19.826" v="2763" actId="20577"/>
        <pc:sldMkLst>
          <pc:docMk/>
          <pc:sldMk cId="3786029249" sldId="306"/>
        </pc:sldMkLst>
        <pc:spChg chg="add mod">
          <ac:chgData name="PROVENCHERE Sandrine" userId="ad1decff-d2ce-4d29-9d90-3591b80bc438" providerId="ADAL" clId="{A1BB9380-C3A6-4BB1-BECC-68ED57B5A022}" dt="2022-01-12T09:57:19.826" v="2763" actId="20577"/>
          <ac:spMkLst>
            <pc:docMk/>
            <pc:sldMk cId="3786029249" sldId="306"/>
            <ac:spMk id="12" creationId="{3F548C29-008C-45B6-BEA3-4C0FE9D920FC}"/>
          </ac:spMkLst>
        </pc:spChg>
        <pc:spChg chg="del">
          <ac:chgData name="PROVENCHERE Sandrine" userId="ad1decff-d2ce-4d29-9d90-3591b80bc438" providerId="ADAL" clId="{A1BB9380-C3A6-4BB1-BECC-68ED57B5A022}" dt="2022-01-06T14:48:54.459" v="34" actId="478"/>
          <ac:spMkLst>
            <pc:docMk/>
            <pc:sldMk cId="3786029249" sldId="306"/>
            <ac:spMk id="17" creationId="{17A54928-8ADB-4B10-900E-B3726C991048}"/>
          </ac:spMkLst>
        </pc:spChg>
        <pc:spChg chg="mod">
          <ac:chgData name="PROVENCHERE Sandrine" userId="ad1decff-d2ce-4d29-9d90-3591b80bc438" providerId="ADAL" clId="{A1BB9380-C3A6-4BB1-BECC-68ED57B5A022}" dt="2022-01-12T09:56:35.045" v="2762" actId="20577"/>
          <ac:spMkLst>
            <pc:docMk/>
            <pc:sldMk cId="3786029249" sldId="306"/>
            <ac:spMk id="18" creationId="{A68FD972-9CA0-4E04-A011-04EB94EF4394}"/>
          </ac:spMkLst>
        </pc:spChg>
      </pc:sldChg>
      <pc:sldChg chg="modSp mod">
        <pc:chgData name="PROVENCHERE Sandrine" userId="ad1decff-d2ce-4d29-9d90-3591b80bc438" providerId="ADAL" clId="{A1BB9380-C3A6-4BB1-BECC-68ED57B5A022}" dt="2022-01-06T14:48:14.023" v="18" actId="20577"/>
        <pc:sldMkLst>
          <pc:docMk/>
          <pc:sldMk cId="3366464129" sldId="307"/>
        </pc:sldMkLst>
        <pc:spChg chg="mod">
          <ac:chgData name="PROVENCHERE Sandrine" userId="ad1decff-d2ce-4d29-9d90-3591b80bc438" providerId="ADAL" clId="{A1BB9380-C3A6-4BB1-BECC-68ED57B5A022}" dt="2022-01-06T14:48:14.023" v="18" actId="20577"/>
          <ac:spMkLst>
            <pc:docMk/>
            <pc:sldMk cId="3366464129" sldId="307"/>
            <ac:spMk id="2" creationId="{71155487-2948-4B79-B454-10A25402BAD8}"/>
          </ac:spMkLst>
        </pc:spChg>
      </pc:sldChg>
      <pc:sldChg chg="addSp delSp modSp mod">
        <pc:chgData name="PROVENCHERE Sandrine" userId="ad1decff-d2ce-4d29-9d90-3591b80bc438" providerId="ADAL" clId="{A1BB9380-C3A6-4BB1-BECC-68ED57B5A022}" dt="2022-01-12T09:48:46.978" v="2587" actId="27918"/>
        <pc:sldMkLst>
          <pc:docMk/>
          <pc:sldMk cId="2715760571" sldId="311"/>
        </pc:sldMkLst>
        <pc:spChg chg="mod">
          <ac:chgData name="PROVENCHERE Sandrine" userId="ad1decff-d2ce-4d29-9d90-3591b80bc438" providerId="ADAL" clId="{A1BB9380-C3A6-4BB1-BECC-68ED57B5A022}" dt="2022-01-12T08:50:04.075" v="1542" actId="1037"/>
          <ac:spMkLst>
            <pc:docMk/>
            <pc:sldMk cId="2715760571" sldId="311"/>
            <ac:spMk id="3" creationId="{7123C9CD-0DB3-4CF8-A58B-E9B01F7752F7}"/>
          </ac:spMkLst>
        </pc:spChg>
        <pc:spChg chg="mod">
          <ac:chgData name="PROVENCHERE Sandrine" userId="ad1decff-d2ce-4d29-9d90-3591b80bc438" providerId="ADAL" clId="{A1BB9380-C3A6-4BB1-BECC-68ED57B5A022}" dt="2022-01-12T08:56:56.170" v="1615" actId="207"/>
          <ac:spMkLst>
            <pc:docMk/>
            <pc:sldMk cId="2715760571" sldId="311"/>
            <ac:spMk id="8" creationId="{0F248677-2B3B-4D33-8092-A63747D709D5}"/>
          </ac:spMkLst>
        </pc:spChg>
        <pc:spChg chg="mod">
          <ac:chgData name="PROVENCHERE Sandrine" userId="ad1decff-d2ce-4d29-9d90-3591b80bc438" providerId="ADAL" clId="{A1BB9380-C3A6-4BB1-BECC-68ED57B5A022}" dt="2022-01-06T14:52:07.134" v="75" actId="20577"/>
          <ac:spMkLst>
            <pc:docMk/>
            <pc:sldMk cId="2715760571" sldId="311"/>
            <ac:spMk id="25" creationId="{09F096B1-AFB1-4407-9A5A-FB8F47A3DF9F}"/>
          </ac:spMkLst>
        </pc:spChg>
        <pc:spChg chg="del mod">
          <ac:chgData name="PROVENCHERE Sandrine" userId="ad1decff-d2ce-4d29-9d90-3591b80bc438" providerId="ADAL" clId="{A1BB9380-C3A6-4BB1-BECC-68ED57B5A022}" dt="2022-01-06T14:53:36.099" v="120"/>
          <ac:spMkLst>
            <pc:docMk/>
            <pc:sldMk cId="2715760571" sldId="311"/>
            <ac:spMk id="28" creationId="{37FD7810-6572-4326-B174-03940A2EAFC0}"/>
          </ac:spMkLst>
        </pc:spChg>
        <pc:spChg chg="del">
          <ac:chgData name="PROVENCHERE Sandrine" userId="ad1decff-d2ce-4d29-9d90-3591b80bc438" providerId="ADAL" clId="{A1BB9380-C3A6-4BB1-BECC-68ED57B5A022}" dt="2022-01-06T14:53:23.723" v="116" actId="478"/>
          <ac:spMkLst>
            <pc:docMk/>
            <pc:sldMk cId="2715760571" sldId="311"/>
            <ac:spMk id="45" creationId="{4E54CA6A-6003-49A5-81F7-2CCE85A9F145}"/>
          </ac:spMkLst>
        </pc:spChg>
        <pc:spChg chg="del">
          <ac:chgData name="PROVENCHERE Sandrine" userId="ad1decff-d2ce-4d29-9d90-3591b80bc438" providerId="ADAL" clId="{A1BB9380-C3A6-4BB1-BECC-68ED57B5A022}" dt="2022-01-12T08:57:40.735" v="1617" actId="478"/>
          <ac:spMkLst>
            <pc:docMk/>
            <pc:sldMk cId="2715760571" sldId="311"/>
            <ac:spMk id="47" creationId="{AF6280F2-EF99-4F16-BB6A-EE9C749E04B9}"/>
          </ac:spMkLst>
        </pc:spChg>
        <pc:spChg chg="del">
          <ac:chgData name="PROVENCHERE Sandrine" userId="ad1decff-d2ce-4d29-9d90-3591b80bc438" providerId="ADAL" clId="{A1BB9380-C3A6-4BB1-BECC-68ED57B5A022}" dt="2022-01-12T08:57:40.735" v="1617" actId="478"/>
          <ac:spMkLst>
            <pc:docMk/>
            <pc:sldMk cId="2715760571" sldId="311"/>
            <ac:spMk id="48" creationId="{6CBBD2E1-0191-40BE-9748-194509A36C26}"/>
          </ac:spMkLst>
        </pc:spChg>
        <pc:spChg chg="mod">
          <ac:chgData name="PROVENCHERE Sandrine" userId="ad1decff-d2ce-4d29-9d90-3591b80bc438" providerId="ADAL" clId="{A1BB9380-C3A6-4BB1-BECC-68ED57B5A022}" dt="2022-01-12T08:44:14.070" v="1370" actId="408"/>
          <ac:spMkLst>
            <pc:docMk/>
            <pc:sldMk cId="2715760571" sldId="311"/>
            <ac:spMk id="156" creationId="{FFB1ADF8-FC39-450E-8713-51E84E19C50B}"/>
          </ac:spMkLst>
        </pc:spChg>
        <pc:spChg chg="del">
          <ac:chgData name="PROVENCHERE Sandrine" userId="ad1decff-d2ce-4d29-9d90-3591b80bc438" providerId="ADAL" clId="{A1BB9380-C3A6-4BB1-BECC-68ED57B5A022}" dt="2022-01-12T08:46:29.390" v="1488" actId="478"/>
          <ac:spMkLst>
            <pc:docMk/>
            <pc:sldMk cId="2715760571" sldId="311"/>
            <ac:spMk id="157" creationId="{FB7A7D5C-429B-42F4-B257-D107BFE0E02D}"/>
          </ac:spMkLst>
        </pc:spChg>
        <pc:spChg chg="mod">
          <ac:chgData name="PROVENCHERE Sandrine" userId="ad1decff-d2ce-4d29-9d90-3591b80bc438" providerId="ADAL" clId="{A1BB9380-C3A6-4BB1-BECC-68ED57B5A022}" dt="2022-01-12T08:44:14.070" v="1370" actId="408"/>
          <ac:spMkLst>
            <pc:docMk/>
            <pc:sldMk cId="2715760571" sldId="311"/>
            <ac:spMk id="162" creationId="{5CA29E31-9C27-47C4-87D8-9254DF9F739D}"/>
          </ac:spMkLst>
        </pc:spChg>
        <pc:spChg chg="mod">
          <ac:chgData name="PROVENCHERE Sandrine" userId="ad1decff-d2ce-4d29-9d90-3591b80bc438" providerId="ADAL" clId="{A1BB9380-C3A6-4BB1-BECC-68ED57B5A022}" dt="2022-01-12T08:44:14.070" v="1370" actId="408"/>
          <ac:spMkLst>
            <pc:docMk/>
            <pc:sldMk cId="2715760571" sldId="311"/>
            <ac:spMk id="164" creationId="{7B64E7BF-CF59-4648-94EB-7A74AD3D5C0D}"/>
          </ac:spMkLst>
        </pc:spChg>
        <pc:spChg chg="del">
          <ac:chgData name="PROVENCHERE Sandrine" userId="ad1decff-d2ce-4d29-9d90-3591b80bc438" providerId="ADAL" clId="{A1BB9380-C3A6-4BB1-BECC-68ED57B5A022}" dt="2022-01-12T08:46:29.390" v="1488" actId="478"/>
          <ac:spMkLst>
            <pc:docMk/>
            <pc:sldMk cId="2715760571" sldId="311"/>
            <ac:spMk id="165" creationId="{72493A5C-7BE1-449E-A5BA-C58C77C4D6A1}"/>
          </ac:spMkLst>
        </pc:spChg>
        <pc:spChg chg="del">
          <ac:chgData name="PROVENCHERE Sandrine" userId="ad1decff-d2ce-4d29-9d90-3591b80bc438" providerId="ADAL" clId="{A1BB9380-C3A6-4BB1-BECC-68ED57B5A022}" dt="2022-01-12T08:46:29.390" v="1488" actId="478"/>
          <ac:spMkLst>
            <pc:docMk/>
            <pc:sldMk cId="2715760571" sldId="311"/>
            <ac:spMk id="166" creationId="{10133404-69A2-4C5A-AFCF-BBAD1E9D1CC7}"/>
          </ac:spMkLst>
        </pc:spChg>
        <pc:spChg chg="mod">
          <ac:chgData name="PROVENCHERE Sandrine" userId="ad1decff-d2ce-4d29-9d90-3591b80bc438" providerId="ADAL" clId="{A1BB9380-C3A6-4BB1-BECC-68ED57B5A022}" dt="2022-01-12T08:44:14.070" v="1370" actId="408"/>
          <ac:spMkLst>
            <pc:docMk/>
            <pc:sldMk cId="2715760571" sldId="311"/>
            <ac:spMk id="167" creationId="{1EE0F536-1CDA-4CA8-B758-F9EB93AD4D7E}"/>
          </ac:spMkLst>
        </pc:spChg>
        <pc:spChg chg="mod">
          <ac:chgData name="PROVENCHERE Sandrine" userId="ad1decff-d2ce-4d29-9d90-3591b80bc438" providerId="ADAL" clId="{A1BB9380-C3A6-4BB1-BECC-68ED57B5A022}" dt="2022-01-12T08:44:14.070" v="1370" actId="408"/>
          <ac:spMkLst>
            <pc:docMk/>
            <pc:sldMk cId="2715760571" sldId="311"/>
            <ac:spMk id="168" creationId="{256E1423-A209-48D4-AFF3-8C76C5F02B1E}"/>
          </ac:spMkLst>
        </pc:spChg>
        <pc:spChg chg="mod">
          <ac:chgData name="PROVENCHERE Sandrine" userId="ad1decff-d2ce-4d29-9d90-3591b80bc438" providerId="ADAL" clId="{A1BB9380-C3A6-4BB1-BECC-68ED57B5A022}" dt="2022-01-12T08:44:14.070" v="1370" actId="408"/>
          <ac:spMkLst>
            <pc:docMk/>
            <pc:sldMk cId="2715760571" sldId="311"/>
            <ac:spMk id="169" creationId="{93D26106-91A6-4BA4-92EB-AC4980D93D44}"/>
          </ac:spMkLst>
        </pc:spChg>
        <pc:spChg chg="del">
          <ac:chgData name="PROVENCHERE Sandrine" userId="ad1decff-d2ce-4d29-9d90-3591b80bc438" providerId="ADAL" clId="{A1BB9380-C3A6-4BB1-BECC-68ED57B5A022}" dt="2022-01-12T08:40:46.929" v="1324" actId="478"/>
          <ac:spMkLst>
            <pc:docMk/>
            <pc:sldMk cId="2715760571" sldId="311"/>
            <ac:spMk id="170" creationId="{E7A1DBDF-DE03-404A-BE2E-463E8CB11F17}"/>
          </ac:spMkLst>
        </pc:spChg>
        <pc:spChg chg="del">
          <ac:chgData name="PROVENCHERE Sandrine" userId="ad1decff-d2ce-4d29-9d90-3591b80bc438" providerId="ADAL" clId="{A1BB9380-C3A6-4BB1-BECC-68ED57B5A022}" dt="2022-01-12T08:39:54.413" v="1319" actId="478"/>
          <ac:spMkLst>
            <pc:docMk/>
            <pc:sldMk cId="2715760571" sldId="311"/>
            <ac:spMk id="171" creationId="{243149C3-F9D2-4D9A-B60A-073600B15D7B}"/>
          </ac:spMkLst>
        </pc:spChg>
        <pc:spChg chg="del">
          <ac:chgData name="PROVENCHERE Sandrine" userId="ad1decff-d2ce-4d29-9d90-3591b80bc438" providerId="ADAL" clId="{A1BB9380-C3A6-4BB1-BECC-68ED57B5A022}" dt="2022-01-12T08:40:42.296" v="1322" actId="478"/>
          <ac:spMkLst>
            <pc:docMk/>
            <pc:sldMk cId="2715760571" sldId="311"/>
            <ac:spMk id="172" creationId="{D6213BE2-F83F-42F2-AEF3-1C7E0C020E0C}"/>
          </ac:spMkLst>
        </pc:spChg>
        <pc:spChg chg="mod">
          <ac:chgData name="PROVENCHERE Sandrine" userId="ad1decff-d2ce-4d29-9d90-3591b80bc438" providerId="ADAL" clId="{A1BB9380-C3A6-4BB1-BECC-68ED57B5A022}" dt="2022-01-12T08:44:14.070" v="1370" actId="408"/>
          <ac:spMkLst>
            <pc:docMk/>
            <pc:sldMk cId="2715760571" sldId="311"/>
            <ac:spMk id="173" creationId="{7DB56D33-38DD-4C6B-AC78-566A167A3FEC}"/>
          </ac:spMkLst>
        </pc:spChg>
        <pc:spChg chg="del">
          <ac:chgData name="PROVENCHERE Sandrine" userId="ad1decff-d2ce-4d29-9d90-3591b80bc438" providerId="ADAL" clId="{A1BB9380-C3A6-4BB1-BECC-68ED57B5A022}" dt="2022-01-12T08:46:29.390" v="1488" actId="478"/>
          <ac:spMkLst>
            <pc:docMk/>
            <pc:sldMk cId="2715760571" sldId="311"/>
            <ac:spMk id="174" creationId="{030F21D3-A9A5-47DD-8F6A-1F8E23FCB6A2}"/>
          </ac:spMkLst>
        </pc:spChg>
        <pc:spChg chg="del">
          <ac:chgData name="PROVENCHERE Sandrine" userId="ad1decff-d2ce-4d29-9d90-3591b80bc438" providerId="ADAL" clId="{A1BB9380-C3A6-4BB1-BECC-68ED57B5A022}" dt="2022-01-12T08:41:13.636" v="1330" actId="478"/>
          <ac:spMkLst>
            <pc:docMk/>
            <pc:sldMk cId="2715760571" sldId="311"/>
            <ac:spMk id="175" creationId="{2F8499CF-F49D-461C-BD71-574CC84B301F}"/>
          </ac:spMkLst>
        </pc:spChg>
        <pc:spChg chg="mod">
          <ac:chgData name="PROVENCHERE Sandrine" userId="ad1decff-d2ce-4d29-9d90-3591b80bc438" providerId="ADAL" clId="{A1BB9380-C3A6-4BB1-BECC-68ED57B5A022}" dt="2022-01-12T08:45:24.672" v="1484"/>
          <ac:spMkLst>
            <pc:docMk/>
            <pc:sldMk cId="2715760571" sldId="311"/>
            <ac:spMk id="177" creationId="{A37983EC-850D-400C-B82A-3D4A387E878F}"/>
          </ac:spMkLst>
        </pc:spChg>
        <pc:spChg chg="del">
          <ac:chgData name="PROVENCHERE Sandrine" userId="ad1decff-d2ce-4d29-9d90-3591b80bc438" providerId="ADAL" clId="{A1BB9380-C3A6-4BB1-BECC-68ED57B5A022}" dt="2022-01-12T08:41:34.475" v="1337" actId="478"/>
          <ac:spMkLst>
            <pc:docMk/>
            <pc:sldMk cId="2715760571" sldId="311"/>
            <ac:spMk id="178" creationId="{CADEE7B2-857C-45C5-9C95-0F75246A8880}"/>
          </ac:spMkLst>
        </pc:spChg>
        <pc:spChg chg="mod">
          <ac:chgData name="PROVENCHERE Sandrine" userId="ad1decff-d2ce-4d29-9d90-3591b80bc438" providerId="ADAL" clId="{A1BB9380-C3A6-4BB1-BECC-68ED57B5A022}" dt="2022-01-12T08:44:14.070" v="1370" actId="408"/>
          <ac:spMkLst>
            <pc:docMk/>
            <pc:sldMk cId="2715760571" sldId="311"/>
            <ac:spMk id="179" creationId="{8837CD83-9A90-4F1F-9C41-A9D386AE81A8}"/>
          </ac:spMkLst>
        </pc:spChg>
        <pc:spChg chg="mod">
          <ac:chgData name="PROVENCHERE Sandrine" userId="ad1decff-d2ce-4d29-9d90-3591b80bc438" providerId="ADAL" clId="{A1BB9380-C3A6-4BB1-BECC-68ED57B5A022}" dt="2022-01-12T08:44:14.070" v="1370" actId="408"/>
          <ac:spMkLst>
            <pc:docMk/>
            <pc:sldMk cId="2715760571" sldId="311"/>
            <ac:spMk id="180" creationId="{1F37C3BB-E3C2-482F-B5B4-7024EAC582E6}"/>
          </ac:spMkLst>
        </pc:spChg>
        <pc:spChg chg="mod">
          <ac:chgData name="PROVENCHERE Sandrine" userId="ad1decff-d2ce-4d29-9d90-3591b80bc438" providerId="ADAL" clId="{A1BB9380-C3A6-4BB1-BECC-68ED57B5A022}" dt="2022-01-12T08:44:14.070" v="1370" actId="408"/>
          <ac:spMkLst>
            <pc:docMk/>
            <pc:sldMk cId="2715760571" sldId="311"/>
            <ac:spMk id="181" creationId="{51768A0B-0C85-4FAE-9D46-00462015D554}"/>
          </ac:spMkLst>
        </pc:spChg>
        <pc:spChg chg="mod">
          <ac:chgData name="PROVENCHERE Sandrine" userId="ad1decff-d2ce-4d29-9d90-3591b80bc438" providerId="ADAL" clId="{A1BB9380-C3A6-4BB1-BECC-68ED57B5A022}" dt="2022-01-12T08:45:24.672" v="1484"/>
          <ac:spMkLst>
            <pc:docMk/>
            <pc:sldMk cId="2715760571" sldId="311"/>
            <ac:spMk id="184" creationId="{A37A0E97-805F-40BA-B48B-EE69E6626A1B}"/>
          </ac:spMkLst>
        </pc:spChg>
        <pc:spChg chg="mod">
          <ac:chgData name="PROVENCHERE Sandrine" userId="ad1decff-d2ce-4d29-9d90-3591b80bc438" providerId="ADAL" clId="{A1BB9380-C3A6-4BB1-BECC-68ED57B5A022}" dt="2022-01-12T08:44:14.070" v="1370" actId="408"/>
          <ac:spMkLst>
            <pc:docMk/>
            <pc:sldMk cId="2715760571" sldId="311"/>
            <ac:spMk id="194" creationId="{B69420E7-FCD4-4688-A50E-FF034313CEF4}"/>
          </ac:spMkLst>
        </pc:spChg>
        <pc:spChg chg="mod">
          <ac:chgData name="PROVENCHERE Sandrine" userId="ad1decff-d2ce-4d29-9d90-3591b80bc438" providerId="ADAL" clId="{A1BB9380-C3A6-4BB1-BECC-68ED57B5A022}" dt="2022-01-12T08:44:14.070" v="1370" actId="408"/>
          <ac:spMkLst>
            <pc:docMk/>
            <pc:sldMk cId="2715760571" sldId="311"/>
            <ac:spMk id="195" creationId="{373AFE8F-97BC-4C5C-B6E0-214AE6939D6F}"/>
          </ac:spMkLst>
        </pc:spChg>
        <pc:spChg chg="del">
          <ac:chgData name="PROVENCHERE Sandrine" userId="ad1decff-d2ce-4d29-9d90-3591b80bc438" providerId="ADAL" clId="{A1BB9380-C3A6-4BB1-BECC-68ED57B5A022}" dt="2022-01-12T08:41:25.438" v="1334" actId="478"/>
          <ac:spMkLst>
            <pc:docMk/>
            <pc:sldMk cId="2715760571" sldId="311"/>
            <ac:spMk id="196" creationId="{84F31653-A97B-4861-9302-AAF39B6BE33B}"/>
          </ac:spMkLst>
        </pc:spChg>
        <pc:spChg chg="del">
          <ac:chgData name="PROVENCHERE Sandrine" userId="ad1decff-d2ce-4d29-9d90-3591b80bc438" providerId="ADAL" clId="{A1BB9380-C3A6-4BB1-BECC-68ED57B5A022}" dt="2022-01-12T08:46:29.390" v="1488" actId="478"/>
          <ac:spMkLst>
            <pc:docMk/>
            <pc:sldMk cId="2715760571" sldId="311"/>
            <ac:spMk id="197" creationId="{269FA514-7E09-4851-878B-A7DF41C04C12}"/>
          </ac:spMkLst>
        </pc:spChg>
        <pc:spChg chg="del">
          <ac:chgData name="PROVENCHERE Sandrine" userId="ad1decff-d2ce-4d29-9d90-3591b80bc438" providerId="ADAL" clId="{A1BB9380-C3A6-4BB1-BECC-68ED57B5A022}" dt="2022-01-12T08:46:29.390" v="1488" actId="478"/>
          <ac:spMkLst>
            <pc:docMk/>
            <pc:sldMk cId="2715760571" sldId="311"/>
            <ac:spMk id="198" creationId="{2CCDC18F-0248-43B2-92DE-CE2D93D2CAED}"/>
          </ac:spMkLst>
        </pc:spChg>
        <pc:spChg chg="mod">
          <ac:chgData name="PROVENCHERE Sandrine" userId="ad1decff-d2ce-4d29-9d90-3591b80bc438" providerId="ADAL" clId="{A1BB9380-C3A6-4BB1-BECC-68ED57B5A022}" dt="2022-01-12T08:44:14.070" v="1370" actId="408"/>
          <ac:spMkLst>
            <pc:docMk/>
            <pc:sldMk cId="2715760571" sldId="311"/>
            <ac:spMk id="199" creationId="{D12FEA10-F966-47C4-B7BA-75D9F21C8E56}"/>
          </ac:spMkLst>
        </pc:spChg>
        <pc:spChg chg="del">
          <ac:chgData name="PROVENCHERE Sandrine" userId="ad1decff-d2ce-4d29-9d90-3591b80bc438" providerId="ADAL" clId="{A1BB9380-C3A6-4BB1-BECC-68ED57B5A022}" dt="2022-01-12T08:40:44.302" v="1323" actId="478"/>
          <ac:spMkLst>
            <pc:docMk/>
            <pc:sldMk cId="2715760571" sldId="311"/>
            <ac:spMk id="200" creationId="{F923AE85-757B-4385-B523-F3EC007ED840}"/>
          </ac:spMkLst>
        </pc:spChg>
        <pc:spChg chg="del">
          <ac:chgData name="PROVENCHERE Sandrine" userId="ad1decff-d2ce-4d29-9d90-3591b80bc438" providerId="ADAL" clId="{A1BB9380-C3A6-4BB1-BECC-68ED57B5A022}" dt="2022-01-12T08:40:24.148" v="1321" actId="478"/>
          <ac:spMkLst>
            <pc:docMk/>
            <pc:sldMk cId="2715760571" sldId="311"/>
            <ac:spMk id="201" creationId="{E64A26F2-ADE2-4485-B231-2EC15796C5C9}"/>
          </ac:spMkLst>
        </pc:spChg>
        <pc:spChg chg="del mod">
          <ac:chgData name="PROVENCHERE Sandrine" userId="ad1decff-d2ce-4d29-9d90-3591b80bc438" providerId="ADAL" clId="{A1BB9380-C3A6-4BB1-BECC-68ED57B5A022}" dt="2022-01-12T08:43:27.299" v="1355" actId="478"/>
          <ac:spMkLst>
            <pc:docMk/>
            <pc:sldMk cId="2715760571" sldId="311"/>
            <ac:spMk id="202" creationId="{FA799702-6CBD-417C-AE97-802171AE5167}"/>
          </ac:spMkLst>
        </pc:spChg>
        <pc:spChg chg="add del mod">
          <ac:chgData name="PROVENCHERE Sandrine" userId="ad1decff-d2ce-4d29-9d90-3591b80bc438" providerId="ADAL" clId="{A1BB9380-C3A6-4BB1-BECC-68ED57B5A022}" dt="2022-01-12T08:47:30.768" v="1496" actId="478"/>
          <ac:spMkLst>
            <pc:docMk/>
            <pc:sldMk cId="2715760571" sldId="311"/>
            <ac:spMk id="203" creationId="{D5AD186A-F39C-4840-B70E-4EC72A308472}"/>
          </ac:spMkLst>
        </pc:spChg>
        <pc:spChg chg="add del mod">
          <ac:chgData name="PROVENCHERE Sandrine" userId="ad1decff-d2ce-4d29-9d90-3591b80bc438" providerId="ADAL" clId="{A1BB9380-C3A6-4BB1-BECC-68ED57B5A022}" dt="2022-01-12T08:47:30.768" v="1496" actId="478"/>
          <ac:spMkLst>
            <pc:docMk/>
            <pc:sldMk cId="2715760571" sldId="311"/>
            <ac:spMk id="204" creationId="{78C7E672-79D7-402B-BC07-4EDDBEDE8B3F}"/>
          </ac:spMkLst>
        </pc:spChg>
        <pc:spChg chg="add del mod">
          <ac:chgData name="PROVENCHERE Sandrine" userId="ad1decff-d2ce-4d29-9d90-3591b80bc438" providerId="ADAL" clId="{A1BB9380-C3A6-4BB1-BECC-68ED57B5A022}" dt="2022-01-12T08:47:28.519" v="1495" actId="478"/>
          <ac:spMkLst>
            <pc:docMk/>
            <pc:sldMk cId="2715760571" sldId="311"/>
            <ac:spMk id="205" creationId="{B6BC7C24-4C77-4048-A920-1729CD72088A}"/>
          </ac:spMkLst>
        </pc:spChg>
        <pc:spChg chg="add del mod">
          <ac:chgData name="PROVENCHERE Sandrine" userId="ad1decff-d2ce-4d29-9d90-3591b80bc438" providerId="ADAL" clId="{A1BB9380-C3A6-4BB1-BECC-68ED57B5A022}" dt="2022-01-12T08:47:30.768" v="1496" actId="478"/>
          <ac:spMkLst>
            <pc:docMk/>
            <pc:sldMk cId="2715760571" sldId="311"/>
            <ac:spMk id="207" creationId="{C398AF69-07A9-439E-B8AD-2A40ABF7FDA0}"/>
          </ac:spMkLst>
        </pc:spChg>
        <pc:spChg chg="add del mod">
          <ac:chgData name="PROVENCHERE Sandrine" userId="ad1decff-d2ce-4d29-9d90-3591b80bc438" providerId="ADAL" clId="{A1BB9380-C3A6-4BB1-BECC-68ED57B5A022}" dt="2022-01-12T08:47:30.768" v="1496" actId="478"/>
          <ac:spMkLst>
            <pc:docMk/>
            <pc:sldMk cId="2715760571" sldId="311"/>
            <ac:spMk id="208" creationId="{2F634284-E1A5-4E66-834F-FFBB536F381C}"/>
          </ac:spMkLst>
        </pc:spChg>
        <pc:spChg chg="del">
          <ac:chgData name="PROVENCHERE Sandrine" userId="ad1decff-d2ce-4d29-9d90-3591b80bc438" providerId="ADAL" clId="{A1BB9380-C3A6-4BB1-BECC-68ED57B5A022}" dt="2022-01-12T08:46:29.390" v="1488" actId="478"/>
          <ac:spMkLst>
            <pc:docMk/>
            <pc:sldMk cId="2715760571" sldId="311"/>
            <ac:spMk id="209" creationId="{A8B28EDB-6ED8-4579-8290-518176A683A6}"/>
          </ac:spMkLst>
        </pc:spChg>
        <pc:spChg chg="del">
          <ac:chgData name="PROVENCHERE Sandrine" userId="ad1decff-d2ce-4d29-9d90-3591b80bc438" providerId="ADAL" clId="{A1BB9380-C3A6-4BB1-BECC-68ED57B5A022}" dt="2022-01-12T08:46:29.390" v="1488" actId="478"/>
          <ac:spMkLst>
            <pc:docMk/>
            <pc:sldMk cId="2715760571" sldId="311"/>
            <ac:spMk id="210" creationId="{DAB6CB2B-E08A-4815-86A0-F45034590DC7}"/>
          </ac:spMkLst>
        </pc:spChg>
        <pc:spChg chg="add del mod">
          <ac:chgData name="PROVENCHERE Sandrine" userId="ad1decff-d2ce-4d29-9d90-3591b80bc438" providerId="ADAL" clId="{A1BB9380-C3A6-4BB1-BECC-68ED57B5A022}" dt="2022-01-12T08:47:30.768" v="1496" actId="478"/>
          <ac:spMkLst>
            <pc:docMk/>
            <pc:sldMk cId="2715760571" sldId="311"/>
            <ac:spMk id="212" creationId="{BD2758BB-190D-4028-A625-13F4591D356C}"/>
          </ac:spMkLst>
        </pc:spChg>
        <pc:spChg chg="del">
          <ac:chgData name="PROVENCHERE Sandrine" userId="ad1decff-d2ce-4d29-9d90-3591b80bc438" providerId="ADAL" clId="{A1BB9380-C3A6-4BB1-BECC-68ED57B5A022}" dt="2022-01-12T08:46:29.390" v="1488" actId="478"/>
          <ac:spMkLst>
            <pc:docMk/>
            <pc:sldMk cId="2715760571" sldId="311"/>
            <ac:spMk id="213" creationId="{437864A9-D6E5-48E0-AC22-8B1AC2C2796D}"/>
          </ac:spMkLst>
        </pc:spChg>
        <pc:spChg chg="add del mod">
          <ac:chgData name="PROVENCHERE Sandrine" userId="ad1decff-d2ce-4d29-9d90-3591b80bc438" providerId="ADAL" clId="{A1BB9380-C3A6-4BB1-BECC-68ED57B5A022}" dt="2022-01-12T08:47:30.768" v="1496" actId="478"/>
          <ac:spMkLst>
            <pc:docMk/>
            <pc:sldMk cId="2715760571" sldId="311"/>
            <ac:spMk id="216" creationId="{CA05E1D8-567A-4DE4-9077-3C406988BFCC}"/>
          </ac:spMkLst>
        </pc:spChg>
        <pc:spChg chg="add del mod">
          <ac:chgData name="PROVENCHERE Sandrine" userId="ad1decff-d2ce-4d29-9d90-3591b80bc438" providerId="ADAL" clId="{A1BB9380-C3A6-4BB1-BECC-68ED57B5A022}" dt="2022-01-12T08:47:30.768" v="1496" actId="478"/>
          <ac:spMkLst>
            <pc:docMk/>
            <pc:sldMk cId="2715760571" sldId="311"/>
            <ac:spMk id="217" creationId="{B69718E1-E3AA-4CE0-B643-05931A2560FE}"/>
          </ac:spMkLst>
        </pc:spChg>
        <pc:spChg chg="add del mod">
          <ac:chgData name="PROVENCHERE Sandrine" userId="ad1decff-d2ce-4d29-9d90-3591b80bc438" providerId="ADAL" clId="{A1BB9380-C3A6-4BB1-BECC-68ED57B5A022}" dt="2022-01-12T08:47:30.768" v="1496" actId="478"/>
          <ac:spMkLst>
            <pc:docMk/>
            <pc:sldMk cId="2715760571" sldId="311"/>
            <ac:spMk id="218" creationId="{B199904B-D664-466D-A7DF-8BCB9B573B17}"/>
          </ac:spMkLst>
        </pc:spChg>
        <pc:spChg chg="del">
          <ac:chgData name="PROVENCHERE Sandrine" userId="ad1decff-d2ce-4d29-9d90-3591b80bc438" providerId="ADAL" clId="{A1BB9380-C3A6-4BB1-BECC-68ED57B5A022}" dt="2022-01-12T08:46:29.390" v="1488" actId="478"/>
          <ac:spMkLst>
            <pc:docMk/>
            <pc:sldMk cId="2715760571" sldId="311"/>
            <ac:spMk id="223" creationId="{28F45D01-126B-4D3B-8CA7-B7A4C3FC4C2C}"/>
          </ac:spMkLst>
        </pc:spChg>
        <pc:spChg chg="del">
          <ac:chgData name="PROVENCHERE Sandrine" userId="ad1decff-d2ce-4d29-9d90-3591b80bc438" providerId="ADAL" clId="{A1BB9380-C3A6-4BB1-BECC-68ED57B5A022}" dt="2022-01-12T08:39:56.292" v="1320" actId="478"/>
          <ac:spMkLst>
            <pc:docMk/>
            <pc:sldMk cId="2715760571" sldId="311"/>
            <ac:spMk id="225" creationId="{7C69B050-26D8-48A8-8232-9F11ABE056BE}"/>
          </ac:spMkLst>
        </pc:spChg>
        <pc:spChg chg="add del mod">
          <ac:chgData name="PROVENCHERE Sandrine" userId="ad1decff-d2ce-4d29-9d90-3591b80bc438" providerId="ADAL" clId="{A1BB9380-C3A6-4BB1-BECC-68ED57B5A022}" dt="2022-01-12T08:47:30.768" v="1496" actId="478"/>
          <ac:spMkLst>
            <pc:docMk/>
            <pc:sldMk cId="2715760571" sldId="311"/>
            <ac:spMk id="227" creationId="{4F5B67B8-0C1E-4007-AB1D-1D0DD5310365}"/>
          </ac:spMkLst>
        </pc:spChg>
        <pc:spChg chg="del">
          <ac:chgData name="PROVENCHERE Sandrine" userId="ad1decff-d2ce-4d29-9d90-3591b80bc438" providerId="ADAL" clId="{A1BB9380-C3A6-4BB1-BECC-68ED57B5A022}" dt="2022-01-12T08:40:50.142" v="1325" actId="478"/>
          <ac:spMkLst>
            <pc:docMk/>
            <pc:sldMk cId="2715760571" sldId="311"/>
            <ac:spMk id="228" creationId="{F0019017-42CC-413D-9398-D45CD5BAE43B}"/>
          </ac:spMkLst>
        </pc:spChg>
        <pc:spChg chg="add del mod">
          <ac:chgData name="PROVENCHERE Sandrine" userId="ad1decff-d2ce-4d29-9d90-3591b80bc438" providerId="ADAL" clId="{A1BB9380-C3A6-4BB1-BECC-68ED57B5A022}" dt="2022-01-12T08:47:30.768" v="1496" actId="478"/>
          <ac:spMkLst>
            <pc:docMk/>
            <pc:sldMk cId="2715760571" sldId="311"/>
            <ac:spMk id="229" creationId="{941C20FA-C92E-4EDC-8C0F-65EFCAE85F32}"/>
          </ac:spMkLst>
        </pc:spChg>
        <pc:spChg chg="del">
          <ac:chgData name="PROVENCHERE Sandrine" userId="ad1decff-d2ce-4d29-9d90-3591b80bc438" providerId="ADAL" clId="{A1BB9380-C3A6-4BB1-BECC-68ED57B5A022}" dt="2022-01-12T08:46:29.390" v="1488" actId="478"/>
          <ac:spMkLst>
            <pc:docMk/>
            <pc:sldMk cId="2715760571" sldId="311"/>
            <ac:spMk id="230" creationId="{CF8826F4-867C-4AD5-9C44-1ADE6129DDD9}"/>
          </ac:spMkLst>
        </pc:spChg>
        <pc:spChg chg="add del mod">
          <ac:chgData name="PROVENCHERE Sandrine" userId="ad1decff-d2ce-4d29-9d90-3591b80bc438" providerId="ADAL" clId="{A1BB9380-C3A6-4BB1-BECC-68ED57B5A022}" dt="2022-01-12T08:47:30.768" v="1496" actId="478"/>
          <ac:spMkLst>
            <pc:docMk/>
            <pc:sldMk cId="2715760571" sldId="311"/>
            <ac:spMk id="231" creationId="{0E74AC0B-A9A5-419A-9063-DAAD748A2B47}"/>
          </ac:spMkLst>
        </pc:spChg>
        <pc:spChg chg="del">
          <ac:chgData name="PROVENCHERE Sandrine" userId="ad1decff-d2ce-4d29-9d90-3591b80bc438" providerId="ADAL" clId="{A1BB9380-C3A6-4BB1-BECC-68ED57B5A022}" dt="2022-01-12T08:41:24.071" v="1333" actId="478"/>
          <ac:spMkLst>
            <pc:docMk/>
            <pc:sldMk cId="2715760571" sldId="311"/>
            <ac:spMk id="232" creationId="{ADB348D0-7624-433F-B531-E77AAD87473B}"/>
          </ac:spMkLst>
        </pc:spChg>
        <pc:spChg chg="mod">
          <ac:chgData name="PROVENCHERE Sandrine" userId="ad1decff-d2ce-4d29-9d90-3591b80bc438" providerId="ADAL" clId="{A1BB9380-C3A6-4BB1-BECC-68ED57B5A022}" dt="2022-01-12T08:44:51.545" v="1418" actId="1037"/>
          <ac:spMkLst>
            <pc:docMk/>
            <pc:sldMk cId="2715760571" sldId="311"/>
            <ac:spMk id="233" creationId="{724B377D-C72C-41E1-87C6-B1331121494C}"/>
          </ac:spMkLst>
        </pc:spChg>
        <pc:spChg chg="del">
          <ac:chgData name="PROVENCHERE Sandrine" userId="ad1decff-d2ce-4d29-9d90-3591b80bc438" providerId="ADAL" clId="{A1BB9380-C3A6-4BB1-BECC-68ED57B5A022}" dt="2022-01-12T08:46:29.390" v="1488" actId="478"/>
          <ac:spMkLst>
            <pc:docMk/>
            <pc:sldMk cId="2715760571" sldId="311"/>
            <ac:spMk id="243" creationId="{44DF0F83-0DB1-4F1F-A47A-996F378D08BE}"/>
          </ac:spMkLst>
        </pc:spChg>
        <pc:spChg chg="del mod">
          <ac:chgData name="PROVENCHERE Sandrine" userId="ad1decff-d2ce-4d29-9d90-3591b80bc438" providerId="ADAL" clId="{A1BB9380-C3A6-4BB1-BECC-68ED57B5A022}" dt="2022-01-12T08:41:31.690" v="1336" actId="478"/>
          <ac:spMkLst>
            <pc:docMk/>
            <pc:sldMk cId="2715760571" sldId="311"/>
            <ac:spMk id="246" creationId="{5480C29B-7193-449F-A0FE-8AAB28454918}"/>
          </ac:spMkLst>
        </pc:spChg>
        <pc:spChg chg="del mod">
          <ac:chgData name="PROVENCHERE Sandrine" userId="ad1decff-d2ce-4d29-9d90-3591b80bc438" providerId="ADAL" clId="{A1BB9380-C3A6-4BB1-BECC-68ED57B5A022}" dt="2022-01-12T08:55:05.535" v="1596" actId="478"/>
          <ac:spMkLst>
            <pc:docMk/>
            <pc:sldMk cId="2715760571" sldId="311"/>
            <ac:spMk id="248" creationId="{D4A80F1B-4E5E-4901-A7A0-CABD12E65445}"/>
          </ac:spMkLst>
        </pc:spChg>
        <pc:spChg chg="del">
          <ac:chgData name="PROVENCHERE Sandrine" userId="ad1decff-d2ce-4d29-9d90-3591b80bc438" providerId="ADAL" clId="{A1BB9380-C3A6-4BB1-BECC-68ED57B5A022}" dt="2022-01-12T08:46:29.390" v="1488" actId="478"/>
          <ac:spMkLst>
            <pc:docMk/>
            <pc:sldMk cId="2715760571" sldId="311"/>
            <ac:spMk id="249" creationId="{EB517C12-F3A1-492B-A7BD-BA3733FD2F5B}"/>
          </ac:spMkLst>
        </pc:spChg>
        <pc:spChg chg="add del mod">
          <ac:chgData name="PROVENCHERE Sandrine" userId="ad1decff-d2ce-4d29-9d90-3591b80bc438" providerId="ADAL" clId="{A1BB9380-C3A6-4BB1-BECC-68ED57B5A022}" dt="2022-01-12T08:47:30.768" v="1496" actId="478"/>
          <ac:spMkLst>
            <pc:docMk/>
            <pc:sldMk cId="2715760571" sldId="311"/>
            <ac:spMk id="251" creationId="{ED924E62-24D4-414F-9CE7-A57ACA12E07E}"/>
          </ac:spMkLst>
        </pc:spChg>
        <pc:spChg chg="add mod">
          <ac:chgData name="PROVENCHERE Sandrine" userId="ad1decff-d2ce-4d29-9d90-3591b80bc438" providerId="ADAL" clId="{A1BB9380-C3A6-4BB1-BECC-68ED57B5A022}" dt="2022-01-12T08:47:22.195" v="1494" actId="1076"/>
          <ac:spMkLst>
            <pc:docMk/>
            <pc:sldMk cId="2715760571" sldId="311"/>
            <ac:spMk id="252" creationId="{41816C68-6642-4D56-9676-999930E1FC8E}"/>
          </ac:spMkLst>
        </pc:spChg>
        <pc:spChg chg="add mod">
          <ac:chgData name="PROVENCHERE Sandrine" userId="ad1decff-d2ce-4d29-9d90-3591b80bc438" providerId="ADAL" clId="{A1BB9380-C3A6-4BB1-BECC-68ED57B5A022}" dt="2022-01-12T08:47:22.195" v="1494" actId="1076"/>
          <ac:spMkLst>
            <pc:docMk/>
            <pc:sldMk cId="2715760571" sldId="311"/>
            <ac:spMk id="253" creationId="{83E3DCCF-464C-459F-8352-740D2B7E45A0}"/>
          </ac:spMkLst>
        </pc:spChg>
        <pc:spChg chg="del">
          <ac:chgData name="PROVENCHERE Sandrine" userId="ad1decff-d2ce-4d29-9d90-3591b80bc438" providerId="ADAL" clId="{A1BB9380-C3A6-4BB1-BECC-68ED57B5A022}" dt="2022-01-12T08:46:29.390" v="1488" actId="478"/>
          <ac:spMkLst>
            <pc:docMk/>
            <pc:sldMk cId="2715760571" sldId="311"/>
            <ac:spMk id="254" creationId="{DA97C2B4-8669-4FA0-BA4B-684F8329CDDF}"/>
          </ac:spMkLst>
        </pc:spChg>
        <pc:spChg chg="del">
          <ac:chgData name="PROVENCHERE Sandrine" userId="ad1decff-d2ce-4d29-9d90-3591b80bc438" providerId="ADAL" clId="{A1BB9380-C3A6-4BB1-BECC-68ED57B5A022}" dt="2022-01-12T08:41:20.583" v="1332" actId="478"/>
          <ac:spMkLst>
            <pc:docMk/>
            <pc:sldMk cId="2715760571" sldId="311"/>
            <ac:spMk id="255" creationId="{FB448587-6829-4439-BD2E-F2061509D261}"/>
          </ac:spMkLst>
        </pc:spChg>
        <pc:spChg chg="add mod">
          <ac:chgData name="PROVENCHERE Sandrine" userId="ad1decff-d2ce-4d29-9d90-3591b80bc438" providerId="ADAL" clId="{A1BB9380-C3A6-4BB1-BECC-68ED57B5A022}" dt="2022-01-12T08:47:22.195" v="1494" actId="1076"/>
          <ac:spMkLst>
            <pc:docMk/>
            <pc:sldMk cId="2715760571" sldId="311"/>
            <ac:spMk id="256" creationId="{B6F66CE4-8C1D-479C-9D27-FA3D06E098B0}"/>
          </ac:spMkLst>
        </pc:spChg>
        <pc:spChg chg="add mod">
          <ac:chgData name="PROVENCHERE Sandrine" userId="ad1decff-d2ce-4d29-9d90-3591b80bc438" providerId="ADAL" clId="{A1BB9380-C3A6-4BB1-BECC-68ED57B5A022}" dt="2022-01-12T08:47:22.195" v="1494" actId="1076"/>
          <ac:spMkLst>
            <pc:docMk/>
            <pc:sldMk cId="2715760571" sldId="311"/>
            <ac:spMk id="257" creationId="{77002A85-59DA-4BF5-832D-72F970130B4B}"/>
          </ac:spMkLst>
        </pc:spChg>
        <pc:spChg chg="mod">
          <ac:chgData name="PROVENCHERE Sandrine" userId="ad1decff-d2ce-4d29-9d90-3591b80bc438" providerId="ADAL" clId="{A1BB9380-C3A6-4BB1-BECC-68ED57B5A022}" dt="2022-01-12T08:36:10.697" v="1299" actId="20577"/>
          <ac:spMkLst>
            <pc:docMk/>
            <pc:sldMk cId="2715760571" sldId="311"/>
            <ac:spMk id="261" creationId="{A10A4420-66C8-42DE-82D1-BEFFB2419C97}"/>
          </ac:spMkLst>
        </pc:spChg>
        <pc:spChg chg="mod">
          <ac:chgData name="PROVENCHERE Sandrine" userId="ad1decff-d2ce-4d29-9d90-3591b80bc438" providerId="ADAL" clId="{A1BB9380-C3A6-4BB1-BECC-68ED57B5A022}" dt="2022-01-12T08:36:15.762" v="1302" actId="20577"/>
          <ac:spMkLst>
            <pc:docMk/>
            <pc:sldMk cId="2715760571" sldId="311"/>
            <ac:spMk id="262" creationId="{37A8C09C-710F-48E5-AF07-424C5D583BDF}"/>
          </ac:spMkLst>
        </pc:spChg>
        <pc:spChg chg="mod">
          <ac:chgData name="PROVENCHERE Sandrine" userId="ad1decff-d2ce-4d29-9d90-3591b80bc438" providerId="ADAL" clId="{A1BB9380-C3A6-4BB1-BECC-68ED57B5A022}" dt="2022-01-12T08:36:24.043" v="1307" actId="20577"/>
          <ac:spMkLst>
            <pc:docMk/>
            <pc:sldMk cId="2715760571" sldId="311"/>
            <ac:spMk id="263" creationId="{54604176-CFA7-41D5-BE94-A3AE78B7F4C2}"/>
          </ac:spMkLst>
        </pc:spChg>
        <pc:spChg chg="mod">
          <ac:chgData name="PROVENCHERE Sandrine" userId="ad1decff-d2ce-4d29-9d90-3591b80bc438" providerId="ADAL" clId="{A1BB9380-C3A6-4BB1-BECC-68ED57B5A022}" dt="2022-01-12T08:36:30.475" v="1310" actId="20577"/>
          <ac:spMkLst>
            <pc:docMk/>
            <pc:sldMk cId="2715760571" sldId="311"/>
            <ac:spMk id="264" creationId="{E165D15C-4633-4830-B94D-6C1F5067BE22}"/>
          </ac:spMkLst>
        </pc:spChg>
        <pc:spChg chg="add mod">
          <ac:chgData name="PROVENCHERE Sandrine" userId="ad1decff-d2ce-4d29-9d90-3591b80bc438" providerId="ADAL" clId="{A1BB9380-C3A6-4BB1-BECC-68ED57B5A022}" dt="2022-01-12T08:47:22.195" v="1494" actId="1076"/>
          <ac:spMkLst>
            <pc:docMk/>
            <pc:sldMk cId="2715760571" sldId="311"/>
            <ac:spMk id="269" creationId="{E4A645B9-73D3-4EA6-A625-EE3F14BDA54D}"/>
          </ac:spMkLst>
        </pc:spChg>
        <pc:spChg chg="add mod">
          <ac:chgData name="PROVENCHERE Sandrine" userId="ad1decff-d2ce-4d29-9d90-3591b80bc438" providerId="ADAL" clId="{A1BB9380-C3A6-4BB1-BECC-68ED57B5A022}" dt="2022-01-12T08:47:22.195" v="1494" actId="1076"/>
          <ac:spMkLst>
            <pc:docMk/>
            <pc:sldMk cId="2715760571" sldId="311"/>
            <ac:spMk id="270" creationId="{F87C8193-2E26-4149-9DE8-BB93E91C2C20}"/>
          </ac:spMkLst>
        </pc:spChg>
        <pc:spChg chg="add mod">
          <ac:chgData name="PROVENCHERE Sandrine" userId="ad1decff-d2ce-4d29-9d90-3591b80bc438" providerId="ADAL" clId="{A1BB9380-C3A6-4BB1-BECC-68ED57B5A022}" dt="2022-01-12T08:47:22.195" v="1494" actId="1076"/>
          <ac:spMkLst>
            <pc:docMk/>
            <pc:sldMk cId="2715760571" sldId="311"/>
            <ac:spMk id="271" creationId="{455AAA66-C6D1-4CF2-B99B-FEEE790EDDC1}"/>
          </ac:spMkLst>
        </pc:spChg>
        <pc:spChg chg="add mod">
          <ac:chgData name="PROVENCHERE Sandrine" userId="ad1decff-d2ce-4d29-9d90-3591b80bc438" providerId="ADAL" clId="{A1BB9380-C3A6-4BB1-BECC-68ED57B5A022}" dt="2022-01-12T08:47:22.195" v="1494" actId="1076"/>
          <ac:spMkLst>
            <pc:docMk/>
            <pc:sldMk cId="2715760571" sldId="311"/>
            <ac:spMk id="272" creationId="{08D746D2-AC6F-4A93-B085-4E40AC7E5247}"/>
          </ac:spMkLst>
        </pc:spChg>
        <pc:spChg chg="del topLvl">
          <ac:chgData name="PROVENCHERE Sandrine" userId="ad1decff-d2ce-4d29-9d90-3591b80bc438" providerId="ADAL" clId="{A1BB9380-C3A6-4BB1-BECC-68ED57B5A022}" dt="2022-01-12T08:45:20.297" v="1481" actId="478"/>
          <ac:spMkLst>
            <pc:docMk/>
            <pc:sldMk cId="2715760571" sldId="311"/>
            <ac:spMk id="273" creationId="{A2E27176-015D-4FDB-B492-CE2B2E064EF2}"/>
          </ac:spMkLst>
        </pc:spChg>
        <pc:spChg chg="mod">
          <ac:chgData name="PROVENCHERE Sandrine" userId="ad1decff-d2ce-4d29-9d90-3591b80bc438" providerId="ADAL" clId="{A1BB9380-C3A6-4BB1-BECC-68ED57B5A022}" dt="2022-01-12T08:50:04.075" v="1542" actId="1037"/>
          <ac:spMkLst>
            <pc:docMk/>
            <pc:sldMk cId="2715760571" sldId="311"/>
            <ac:spMk id="276" creationId="{F0E35A8C-6FA8-4F3C-8269-002FD9ACF97E}"/>
          </ac:spMkLst>
        </pc:spChg>
        <pc:spChg chg="mod">
          <ac:chgData name="PROVENCHERE Sandrine" userId="ad1decff-d2ce-4d29-9d90-3591b80bc438" providerId="ADAL" clId="{A1BB9380-C3A6-4BB1-BECC-68ED57B5A022}" dt="2022-01-06T14:52:10.152" v="77" actId="20577"/>
          <ac:spMkLst>
            <pc:docMk/>
            <pc:sldMk cId="2715760571" sldId="311"/>
            <ac:spMk id="283" creationId="{781D2122-F5A0-46C7-A85E-C86F40A5ABDC}"/>
          </ac:spMkLst>
        </pc:spChg>
        <pc:spChg chg="mod">
          <ac:chgData name="PROVENCHERE Sandrine" userId="ad1decff-d2ce-4d29-9d90-3591b80bc438" providerId="ADAL" clId="{A1BB9380-C3A6-4BB1-BECC-68ED57B5A022}" dt="2022-01-06T14:52:13.219" v="81" actId="20577"/>
          <ac:spMkLst>
            <pc:docMk/>
            <pc:sldMk cId="2715760571" sldId="311"/>
            <ac:spMk id="284" creationId="{86D0D7AF-8E07-469B-BDA9-2FC6C1F08AC2}"/>
          </ac:spMkLst>
        </pc:spChg>
        <pc:spChg chg="mod">
          <ac:chgData name="PROVENCHERE Sandrine" userId="ad1decff-d2ce-4d29-9d90-3591b80bc438" providerId="ADAL" clId="{A1BB9380-C3A6-4BB1-BECC-68ED57B5A022}" dt="2022-01-06T14:52:20.449" v="85" actId="20577"/>
          <ac:spMkLst>
            <pc:docMk/>
            <pc:sldMk cId="2715760571" sldId="311"/>
            <ac:spMk id="285" creationId="{D2F9B877-CBEC-4AB7-BCA5-B5BB83E99E7D}"/>
          </ac:spMkLst>
        </pc:spChg>
        <pc:spChg chg="add mod">
          <ac:chgData name="PROVENCHERE Sandrine" userId="ad1decff-d2ce-4d29-9d90-3591b80bc438" providerId="ADAL" clId="{A1BB9380-C3A6-4BB1-BECC-68ED57B5A022}" dt="2022-01-12T08:47:22.195" v="1494" actId="1076"/>
          <ac:spMkLst>
            <pc:docMk/>
            <pc:sldMk cId="2715760571" sldId="311"/>
            <ac:spMk id="287" creationId="{30DD28B7-1DA9-4C69-A8C2-225962BDB5A2}"/>
          </ac:spMkLst>
        </pc:spChg>
        <pc:spChg chg="add mod">
          <ac:chgData name="PROVENCHERE Sandrine" userId="ad1decff-d2ce-4d29-9d90-3591b80bc438" providerId="ADAL" clId="{A1BB9380-C3A6-4BB1-BECC-68ED57B5A022}" dt="2022-01-12T08:47:22.195" v="1494" actId="1076"/>
          <ac:spMkLst>
            <pc:docMk/>
            <pc:sldMk cId="2715760571" sldId="311"/>
            <ac:spMk id="290" creationId="{4A5E6850-A879-4AD9-9822-C2B6D157979B}"/>
          </ac:spMkLst>
        </pc:spChg>
        <pc:spChg chg="add mod">
          <ac:chgData name="PROVENCHERE Sandrine" userId="ad1decff-d2ce-4d29-9d90-3591b80bc438" providerId="ADAL" clId="{A1BB9380-C3A6-4BB1-BECC-68ED57B5A022}" dt="2022-01-12T08:47:22.195" v="1494" actId="1076"/>
          <ac:spMkLst>
            <pc:docMk/>
            <pc:sldMk cId="2715760571" sldId="311"/>
            <ac:spMk id="296" creationId="{EBEED182-3A59-4617-8D3C-B1509DECBAD1}"/>
          </ac:spMkLst>
        </pc:spChg>
        <pc:spChg chg="add mod">
          <ac:chgData name="PROVENCHERE Sandrine" userId="ad1decff-d2ce-4d29-9d90-3591b80bc438" providerId="ADAL" clId="{A1BB9380-C3A6-4BB1-BECC-68ED57B5A022}" dt="2022-01-12T08:47:22.195" v="1494" actId="1076"/>
          <ac:spMkLst>
            <pc:docMk/>
            <pc:sldMk cId="2715760571" sldId="311"/>
            <ac:spMk id="297" creationId="{E0143D3E-B789-4BE6-A852-AFBD82C79A31}"/>
          </ac:spMkLst>
        </pc:spChg>
        <pc:spChg chg="del">
          <ac:chgData name="PROVENCHERE Sandrine" userId="ad1decff-d2ce-4d29-9d90-3591b80bc438" providerId="ADAL" clId="{A1BB9380-C3A6-4BB1-BECC-68ED57B5A022}" dt="2022-01-12T08:57:40.735" v="1617" actId="478"/>
          <ac:spMkLst>
            <pc:docMk/>
            <pc:sldMk cId="2715760571" sldId="311"/>
            <ac:spMk id="301" creationId="{0E222F4E-57D0-4A60-83DA-DF2D46BDC957}"/>
          </ac:spMkLst>
        </pc:spChg>
        <pc:spChg chg="del">
          <ac:chgData name="PROVENCHERE Sandrine" userId="ad1decff-d2ce-4d29-9d90-3591b80bc438" providerId="ADAL" clId="{A1BB9380-C3A6-4BB1-BECC-68ED57B5A022}" dt="2022-01-12T08:57:40.735" v="1617" actId="478"/>
          <ac:spMkLst>
            <pc:docMk/>
            <pc:sldMk cId="2715760571" sldId="311"/>
            <ac:spMk id="302" creationId="{792B99E9-7506-47FC-9BA8-9F1C2F6839B9}"/>
          </ac:spMkLst>
        </pc:spChg>
        <pc:spChg chg="del">
          <ac:chgData name="PROVENCHERE Sandrine" userId="ad1decff-d2ce-4d29-9d90-3591b80bc438" providerId="ADAL" clId="{A1BB9380-C3A6-4BB1-BECC-68ED57B5A022}" dt="2022-01-12T08:57:40.735" v="1617" actId="478"/>
          <ac:spMkLst>
            <pc:docMk/>
            <pc:sldMk cId="2715760571" sldId="311"/>
            <ac:spMk id="303" creationId="{E8D5E44D-9F6F-4591-A128-D45FEBB91CCE}"/>
          </ac:spMkLst>
        </pc:spChg>
        <pc:spChg chg="del">
          <ac:chgData name="PROVENCHERE Sandrine" userId="ad1decff-d2ce-4d29-9d90-3591b80bc438" providerId="ADAL" clId="{A1BB9380-C3A6-4BB1-BECC-68ED57B5A022}" dt="2022-01-12T08:57:40.735" v="1617" actId="478"/>
          <ac:spMkLst>
            <pc:docMk/>
            <pc:sldMk cId="2715760571" sldId="311"/>
            <ac:spMk id="304" creationId="{4A8310BC-D557-409B-902F-54798E9EA84E}"/>
          </ac:spMkLst>
        </pc:spChg>
        <pc:spChg chg="del">
          <ac:chgData name="PROVENCHERE Sandrine" userId="ad1decff-d2ce-4d29-9d90-3591b80bc438" providerId="ADAL" clId="{A1BB9380-C3A6-4BB1-BECC-68ED57B5A022}" dt="2022-01-12T08:41:16.854" v="1331" actId="478"/>
          <ac:spMkLst>
            <pc:docMk/>
            <pc:sldMk cId="2715760571" sldId="311"/>
            <ac:spMk id="305" creationId="{9C3CB8E0-3C39-4CA8-B0F7-540B932B89AA}"/>
          </ac:spMkLst>
        </pc:spChg>
        <pc:spChg chg="add mod">
          <ac:chgData name="PROVENCHERE Sandrine" userId="ad1decff-d2ce-4d29-9d90-3591b80bc438" providerId="ADAL" clId="{A1BB9380-C3A6-4BB1-BECC-68ED57B5A022}" dt="2022-01-12T08:47:22.195" v="1494" actId="1076"/>
          <ac:spMkLst>
            <pc:docMk/>
            <pc:sldMk cId="2715760571" sldId="311"/>
            <ac:spMk id="307" creationId="{31ED7A11-F31C-4542-AA24-39AC5A998835}"/>
          </ac:spMkLst>
        </pc:spChg>
        <pc:spChg chg="add mod">
          <ac:chgData name="PROVENCHERE Sandrine" userId="ad1decff-d2ce-4d29-9d90-3591b80bc438" providerId="ADAL" clId="{A1BB9380-C3A6-4BB1-BECC-68ED57B5A022}" dt="2022-01-12T08:57:43.071" v="1618"/>
          <ac:spMkLst>
            <pc:docMk/>
            <pc:sldMk cId="2715760571" sldId="311"/>
            <ac:spMk id="319" creationId="{8658FE3E-C1EC-4396-8735-DB433825C0B3}"/>
          </ac:spMkLst>
        </pc:spChg>
        <pc:spChg chg="add del mod">
          <ac:chgData name="PROVENCHERE Sandrine" userId="ad1decff-d2ce-4d29-9d90-3591b80bc438" providerId="ADAL" clId="{A1BB9380-C3A6-4BB1-BECC-68ED57B5A022}" dt="2022-01-12T08:58:21.878" v="1630" actId="478"/>
          <ac:spMkLst>
            <pc:docMk/>
            <pc:sldMk cId="2715760571" sldId="311"/>
            <ac:spMk id="322" creationId="{3B1BA7B4-9297-4F53-B183-D84C6DB2F633}"/>
          </ac:spMkLst>
        </pc:spChg>
        <pc:spChg chg="add mod">
          <ac:chgData name="PROVENCHERE Sandrine" userId="ad1decff-d2ce-4d29-9d90-3591b80bc438" providerId="ADAL" clId="{A1BB9380-C3A6-4BB1-BECC-68ED57B5A022}" dt="2022-01-12T08:57:43.071" v="1618"/>
          <ac:spMkLst>
            <pc:docMk/>
            <pc:sldMk cId="2715760571" sldId="311"/>
            <ac:spMk id="324" creationId="{1FD95403-3B9E-42A0-B743-6537D28D8E04}"/>
          </ac:spMkLst>
        </pc:spChg>
        <pc:spChg chg="add mod">
          <ac:chgData name="PROVENCHERE Sandrine" userId="ad1decff-d2ce-4d29-9d90-3591b80bc438" providerId="ADAL" clId="{A1BB9380-C3A6-4BB1-BECC-68ED57B5A022}" dt="2022-01-12T08:58:39.293" v="1633" actId="20577"/>
          <ac:spMkLst>
            <pc:docMk/>
            <pc:sldMk cId="2715760571" sldId="311"/>
            <ac:spMk id="326" creationId="{C44A6B80-86CF-4DFC-9F6D-46162B0DC515}"/>
          </ac:spMkLst>
        </pc:spChg>
        <pc:spChg chg="add mod">
          <ac:chgData name="PROVENCHERE Sandrine" userId="ad1decff-d2ce-4d29-9d90-3591b80bc438" providerId="ADAL" clId="{A1BB9380-C3A6-4BB1-BECC-68ED57B5A022}" dt="2022-01-12T08:58:34.232" v="1631" actId="20577"/>
          <ac:spMkLst>
            <pc:docMk/>
            <pc:sldMk cId="2715760571" sldId="311"/>
            <ac:spMk id="327" creationId="{B93455F7-D354-4E28-84FA-AA42734B8E7E}"/>
          </ac:spMkLst>
        </pc:spChg>
        <pc:spChg chg="add mod">
          <ac:chgData name="PROVENCHERE Sandrine" userId="ad1decff-d2ce-4d29-9d90-3591b80bc438" providerId="ADAL" clId="{A1BB9380-C3A6-4BB1-BECC-68ED57B5A022}" dt="2022-01-12T08:57:43.071" v="1618"/>
          <ac:spMkLst>
            <pc:docMk/>
            <pc:sldMk cId="2715760571" sldId="311"/>
            <ac:spMk id="328" creationId="{1EF1BCA5-4C2A-45CC-A87E-5C4676D77435}"/>
          </ac:spMkLst>
        </pc:spChg>
        <pc:spChg chg="add mod">
          <ac:chgData name="PROVENCHERE Sandrine" userId="ad1decff-d2ce-4d29-9d90-3591b80bc438" providerId="ADAL" clId="{A1BB9380-C3A6-4BB1-BECC-68ED57B5A022}" dt="2022-01-12T08:57:43.071" v="1618"/>
          <ac:spMkLst>
            <pc:docMk/>
            <pc:sldMk cId="2715760571" sldId="311"/>
            <ac:spMk id="329" creationId="{5DF278F1-3E80-4DEF-B243-A0E9C3246F10}"/>
          </ac:spMkLst>
        </pc:spChg>
        <pc:spChg chg="add mod">
          <ac:chgData name="PROVENCHERE Sandrine" userId="ad1decff-d2ce-4d29-9d90-3591b80bc438" providerId="ADAL" clId="{A1BB9380-C3A6-4BB1-BECC-68ED57B5A022}" dt="2022-01-12T08:57:43.071" v="1618"/>
          <ac:spMkLst>
            <pc:docMk/>
            <pc:sldMk cId="2715760571" sldId="311"/>
            <ac:spMk id="332" creationId="{E6FEEA98-9842-4FA9-B3FA-AAD8BC1CDF71}"/>
          </ac:spMkLst>
        </pc:spChg>
        <pc:spChg chg="add mod">
          <ac:chgData name="PROVENCHERE Sandrine" userId="ad1decff-d2ce-4d29-9d90-3591b80bc438" providerId="ADAL" clId="{A1BB9380-C3A6-4BB1-BECC-68ED57B5A022}" dt="2022-01-12T08:57:43.071" v="1618"/>
          <ac:spMkLst>
            <pc:docMk/>
            <pc:sldMk cId="2715760571" sldId="311"/>
            <ac:spMk id="333" creationId="{4F5EC4C8-D7C4-4E84-A37B-FF4F821188C5}"/>
          </ac:spMkLst>
        </pc:spChg>
        <pc:spChg chg="add mod">
          <ac:chgData name="PROVENCHERE Sandrine" userId="ad1decff-d2ce-4d29-9d90-3591b80bc438" providerId="ADAL" clId="{A1BB9380-C3A6-4BB1-BECC-68ED57B5A022}" dt="2022-01-12T09:00:06.980" v="1656" actId="207"/>
          <ac:spMkLst>
            <pc:docMk/>
            <pc:sldMk cId="2715760571" sldId="311"/>
            <ac:spMk id="334" creationId="{E5424F79-9675-4EF0-97DC-1567A82B4D74}"/>
          </ac:spMkLst>
        </pc:spChg>
        <pc:spChg chg="add mod">
          <ac:chgData name="PROVENCHERE Sandrine" userId="ad1decff-d2ce-4d29-9d90-3591b80bc438" providerId="ADAL" clId="{A1BB9380-C3A6-4BB1-BECC-68ED57B5A022}" dt="2022-01-12T09:00:21.122" v="1658" actId="207"/>
          <ac:spMkLst>
            <pc:docMk/>
            <pc:sldMk cId="2715760571" sldId="311"/>
            <ac:spMk id="335" creationId="{82BC1459-2976-498F-AC45-35E45B2CC39D}"/>
          </ac:spMkLst>
        </pc:spChg>
        <pc:spChg chg="add mod">
          <ac:chgData name="PROVENCHERE Sandrine" userId="ad1decff-d2ce-4d29-9d90-3591b80bc438" providerId="ADAL" clId="{A1BB9380-C3A6-4BB1-BECC-68ED57B5A022}" dt="2022-01-12T09:00:15.898" v="1657" actId="207"/>
          <ac:spMkLst>
            <pc:docMk/>
            <pc:sldMk cId="2715760571" sldId="311"/>
            <ac:spMk id="336" creationId="{7883AA19-6609-4017-A321-CCC265AC3348}"/>
          </ac:spMkLst>
        </pc:spChg>
        <pc:spChg chg="del">
          <ac:chgData name="PROVENCHERE Sandrine" userId="ad1decff-d2ce-4d29-9d90-3591b80bc438" providerId="ADAL" clId="{A1BB9380-C3A6-4BB1-BECC-68ED57B5A022}" dt="2022-01-12T08:57:40.735" v="1617" actId="478"/>
          <ac:spMkLst>
            <pc:docMk/>
            <pc:sldMk cId="2715760571" sldId="311"/>
            <ac:spMk id="337" creationId="{E17B4A14-0DC6-4748-9AB0-76BA63D43833}"/>
          </ac:spMkLst>
        </pc:spChg>
        <pc:spChg chg="add mod">
          <ac:chgData name="PROVENCHERE Sandrine" userId="ad1decff-d2ce-4d29-9d90-3591b80bc438" providerId="ADAL" clId="{A1BB9380-C3A6-4BB1-BECC-68ED57B5A022}" dt="2022-01-12T08:57:43.071" v="1618"/>
          <ac:spMkLst>
            <pc:docMk/>
            <pc:sldMk cId="2715760571" sldId="311"/>
            <ac:spMk id="338" creationId="{8E60EAE3-4543-4547-89F1-FF4F90630EB4}"/>
          </ac:spMkLst>
        </pc:spChg>
        <pc:spChg chg="add mod">
          <ac:chgData name="PROVENCHERE Sandrine" userId="ad1decff-d2ce-4d29-9d90-3591b80bc438" providerId="ADAL" clId="{A1BB9380-C3A6-4BB1-BECC-68ED57B5A022}" dt="2022-01-12T09:00:15.898" v="1657" actId="207"/>
          <ac:spMkLst>
            <pc:docMk/>
            <pc:sldMk cId="2715760571" sldId="311"/>
            <ac:spMk id="339" creationId="{7894A1F4-8EF9-4119-B739-A5FBF7C190C0}"/>
          </ac:spMkLst>
        </pc:spChg>
        <pc:spChg chg="add mod">
          <ac:chgData name="PROVENCHERE Sandrine" userId="ad1decff-d2ce-4d29-9d90-3591b80bc438" providerId="ADAL" clId="{A1BB9380-C3A6-4BB1-BECC-68ED57B5A022}" dt="2022-01-12T09:00:06.980" v="1656" actId="207"/>
          <ac:spMkLst>
            <pc:docMk/>
            <pc:sldMk cId="2715760571" sldId="311"/>
            <ac:spMk id="340" creationId="{0F1E1898-FE8D-4682-9B29-D218B946F55E}"/>
          </ac:spMkLst>
        </pc:spChg>
        <pc:spChg chg="del">
          <ac:chgData name="PROVENCHERE Sandrine" userId="ad1decff-d2ce-4d29-9d90-3591b80bc438" providerId="ADAL" clId="{A1BB9380-C3A6-4BB1-BECC-68ED57B5A022}" dt="2022-01-12T08:57:40.735" v="1617" actId="478"/>
          <ac:spMkLst>
            <pc:docMk/>
            <pc:sldMk cId="2715760571" sldId="311"/>
            <ac:spMk id="350" creationId="{7C573944-9D35-4E24-908D-AB871EB87F6B}"/>
          </ac:spMkLst>
        </pc:spChg>
        <pc:spChg chg="del">
          <ac:chgData name="PROVENCHERE Sandrine" userId="ad1decff-d2ce-4d29-9d90-3591b80bc438" providerId="ADAL" clId="{A1BB9380-C3A6-4BB1-BECC-68ED57B5A022}" dt="2022-01-12T08:57:40.735" v="1617" actId="478"/>
          <ac:spMkLst>
            <pc:docMk/>
            <pc:sldMk cId="2715760571" sldId="311"/>
            <ac:spMk id="352" creationId="{3457CB0F-B3D8-40D5-91D2-4F9AE7D78E86}"/>
          </ac:spMkLst>
        </pc:spChg>
        <pc:spChg chg="del">
          <ac:chgData name="PROVENCHERE Sandrine" userId="ad1decff-d2ce-4d29-9d90-3591b80bc438" providerId="ADAL" clId="{A1BB9380-C3A6-4BB1-BECC-68ED57B5A022}" dt="2022-01-12T08:57:40.735" v="1617" actId="478"/>
          <ac:spMkLst>
            <pc:docMk/>
            <pc:sldMk cId="2715760571" sldId="311"/>
            <ac:spMk id="356" creationId="{D8C455AB-39E6-4CB4-BA75-E5C956AA5BD6}"/>
          </ac:spMkLst>
        </pc:spChg>
        <pc:spChg chg="mod">
          <ac:chgData name="PROVENCHERE Sandrine" userId="ad1decff-d2ce-4d29-9d90-3591b80bc438" providerId="ADAL" clId="{A1BB9380-C3A6-4BB1-BECC-68ED57B5A022}" dt="2022-01-12T08:56:56.170" v="1615" actId="207"/>
          <ac:spMkLst>
            <pc:docMk/>
            <pc:sldMk cId="2715760571" sldId="311"/>
            <ac:spMk id="357" creationId="{4250E03D-4363-4E0A-85E5-48B3FEE56E02}"/>
          </ac:spMkLst>
        </pc:spChg>
        <pc:spChg chg="mod">
          <ac:chgData name="PROVENCHERE Sandrine" userId="ad1decff-d2ce-4d29-9d90-3591b80bc438" providerId="ADAL" clId="{A1BB9380-C3A6-4BB1-BECC-68ED57B5A022}" dt="2022-01-12T08:56:56.170" v="1615" actId="207"/>
          <ac:spMkLst>
            <pc:docMk/>
            <pc:sldMk cId="2715760571" sldId="311"/>
            <ac:spMk id="358" creationId="{9C34914F-1284-4D25-9932-A77D91B995E9}"/>
          </ac:spMkLst>
        </pc:spChg>
        <pc:spChg chg="del">
          <ac:chgData name="PROVENCHERE Sandrine" userId="ad1decff-d2ce-4d29-9d90-3591b80bc438" providerId="ADAL" clId="{A1BB9380-C3A6-4BB1-BECC-68ED57B5A022}" dt="2022-01-12T08:57:40.735" v="1617" actId="478"/>
          <ac:spMkLst>
            <pc:docMk/>
            <pc:sldMk cId="2715760571" sldId="311"/>
            <ac:spMk id="360" creationId="{19196A2D-C978-4BD8-9E36-35CF1698960A}"/>
          </ac:spMkLst>
        </pc:spChg>
        <pc:spChg chg="del">
          <ac:chgData name="PROVENCHERE Sandrine" userId="ad1decff-d2ce-4d29-9d90-3591b80bc438" providerId="ADAL" clId="{A1BB9380-C3A6-4BB1-BECC-68ED57B5A022}" dt="2022-01-12T08:57:40.735" v="1617" actId="478"/>
          <ac:spMkLst>
            <pc:docMk/>
            <pc:sldMk cId="2715760571" sldId="311"/>
            <ac:spMk id="361" creationId="{F5E423ED-6FCC-414B-84A6-82A4C6F9788A}"/>
          </ac:spMkLst>
        </pc:spChg>
        <pc:spChg chg="del">
          <ac:chgData name="PROVENCHERE Sandrine" userId="ad1decff-d2ce-4d29-9d90-3591b80bc438" providerId="ADAL" clId="{A1BB9380-C3A6-4BB1-BECC-68ED57B5A022}" dt="2022-01-12T08:57:40.735" v="1617" actId="478"/>
          <ac:spMkLst>
            <pc:docMk/>
            <pc:sldMk cId="2715760571" sldId="311"/>
            <ac:spMk id="362" creationId="{A6114E1E-91F5-478D-949C-061199671015}"/>
          </ac:spMkLst>
        </pc:spChg>
        <pc:spChg chg="del">
          <ac:chgData name="PROVENCHERE Sandrine" userId="ad1decff-d2ce-4d29-9d90-3591b80bc438" providerId="ADAL" clId="{A1BB9380-C3A6-4BB1-BECC-68ED57B5A022}" dt="2022-01-12T08:57:40.735" v="1617" actId="478"/>
          <ac:spMkLst>
            <pc:docMk/>
            <pc:sldMk cId="2715760571" sldId="311"/>
            <ac:spMk id="363" creationId="{1EE6DD91-8F5D-4718-8FF9-03E431B13210}"/>
          </ac:spMkLst>
        </pc:spChg>
        <pc:spChg chg="del">
          <ac:chgData name="PROVENCHERE Sandrine" userId="ad1decff-d2ce-4d29-9d90-3591b80bc438" providerId="ADAL" clId="{A1BB9380-C3A6-4BB1-BECC-68ED57B5A022}" dt="2022-01-12T08:57:40.735" v="1617" actId="478"/>
          <ac:spMkLst>
            <pc:docMk/>
            <pc:sldMk cId="2715760571" sldId="311"/>
            <ac:spMk id="364" creationId="{A74B8A5E-C0E5-4919-BF72-E9ADB9693DF2}"/>
          </ac:spMkLst>
        </pc:spChg>
        <pc:spChg chg="del">
          <ac:chgData name="PROVENCHERE Sandrine" userId="ad1decff-d2ce-4d29-9d90-3591b80bc438" providerId="ADAL" clId="{A1BB9380-C3A6-4BB1-BECC-68ED57B5A022}" dt="2022-01-12T08:57:40.735" v="1617" actId="478"/>
          <ac:spMkLst>
            <pc:docMk/>
            <pc:sldMk cId="2715760571" sldId="311"/>
            <ac:spMk id="365" creationId="{7950B871-6B59-452A-B8F1-129A33AC9478}"/>
          </ac:spMkLst>
        </pc:spChg>
        <pc:spChg chg="mod">
          <ac:chgData name="PROVENCHERE Sandrine" userId="ad1decff-d2ce-4d29-9d90-3591b80bc438" providerId="ADAL" clId="{A1BB9380-C3A6-4BB1-BECC-68ED57B5A022}" dt="2022-01-12T08:56:56.170" v="1615" actId="207"/>
          <ac:spMkLst>
            <pc:docMk/>
            <pc:sldMk cId="2715760571" sldId="311"/>
            <ac:spMk id="366" creationId="{886E17A4-5421-4A86-A1AE-1A457E232E50}"/>
          </ac:spMkLst>
        </pc:spChg>
        <pc:spChg chg="del">
          <ac:chgData name="PROVENCHERE Sandrine" userId="ad1decff-d2ce-4d29-9d90-3591b80bc438" providerId="ADAL" clId="{A1BB9380-C3A6-4BB1-BECC-68ED57B5A022}" dt="2022-01-12T08:57:40.735" v="1617" actId="478"/>
          <ac:spMkLst>
            <pc:docMk/>
            <pc:sldMk cId="2715760571" sldId="311"/>
            <ac:spMk id="412" creationId="{F0D1334D-247F-479D-841F-3855BCAF0A42}"/>
          </ac:spMkLst>
        </pc:spChg>
        <pc:spChg chg="mod">
          <ac:chgData name="PROVENCHERE Sandrine" userId="ad1decff-d2ce-4d29-9d90-3591b80bc438" providerId="ADAL" clId="{A1BB9380-C3A6-4BB1-BECC-68ED57B5A022}" dt="2022-01-12T08:47:01.218" v="1492" actId="1076"/>
          <ac:spMkLst>
            <pc:docMk/>
            <pc:sldMk cId="2715760571" sldId="311"/>
            <ac:spMk id="587" creationId="{7FC2D976-FF61-496E-BC30-76433C060A8D}"/>
          </ac:spMkLst>
        </pc:spChg>
        <pc:grpChg chg="mod">
          <ac:chgData name="PROVENCHERE Sandrine" userId="ad1decff-d2ce-4d29-9d90-3591b80bc438" providerId="ADAL" clId="{A1BB9380-C3A6-4BB1-BECC-68ED57B5A022}" dt="2022-01-12T08:45:06.735" v="1480" actId="14100"/>
          <ac:grpSpMkLst>
            <pc:docMk/>
            <pc:sldMk cId="2715760571" sldId="311"/>
            <ac:grpSpMk id="23" creationId="{0D795AFA-2D29-4CAE-B26D-3434FEF16F46}"/>
          </ac:grpSpMkLst>
        </pc:grpChg>
        <pc:grpChg chg="add mod">
          <ac:chgData name="PROVENCHERE Sandrine" userId="ad1decff-d2ce-4d29-9d90-3591b80bc438" providerId="ADAL" clId="{A1BB9380-C3A6-4BB1-BECC-68ED57B5A022}" dt="2022-01-12T08:45:35.933" v="1485" actId="1076"/>
          <ac:grpSpMkLst>
            <pc:docMk/>
            <pc:sldMk cId="2715760571" sldId="311"/>
            <ac:grpSpMk id="176" creationId="{4C8E8CF8-5412-4936-89D9-18215D7841D9}"/>
          </ac:grpSpMkLst>
        </pc:grpChg>
        <pc:grpChg chg="add mod">
          <ac:chgData name="PROVENCHERE Sandrine" userId="ad1decff-d2ce-4d29-9d90-3591b80bc438" providerId="ADAL" clId="{A1BB9380-C3A6-4BB1-BECC-68ED57B5A022}" dt="2022-01-12T08:45:35.933" v="1485" actId="1076"/>
          <ac:grpSpMkLst>
            <pc:docMk/>
            <pc:sldMk cId="2715760571" sldId="311"/>
            <ac:grpSpMk id="183" creationId="{EECA1BE5-4BF6-4928-A42C-D241A10D70A5}"/>
          </ac:grpSpMkLst>
        </pc:grpChg>
        <pc:grpChg chg="del">
          <ac:chgData name="PROVENCHERE Sandrine" userId="ad1decff-d2ce-4d29-9d90-3591b80bc438" providerId="ADAL" clId="{A1BB9380-C3A6-4BB1-BECC-68ED57B5A022}" dt="2022-01-12T08:45:20.297" v="1481" actId="478"/>
          <ac:grpSpMkLst>
            <pc:docMk/>
            <pc:sldMk cId="2715760571" sldId="311"/>
            <ac:grpSpMk id="267" creationId="{48539DCB-5CAA-4441-95C9-419F3BA8AB26}"/>
          </ac:grpSpMkLst>
        </pc:grpChg>
        <pc:grpChg chg="del">
          <ac:chgData name="PROVENCHERE Sandrine" userId="ad1decff-d2ce-4d29-9d90-3591b80bc438" providerId="ADAL" clId="{A1BB9380-C3A6-4BB1-BECC-68ED57B5A022}" dt="2022-01-12T08:45:23.257" v="1483" actId="478"/>
          <ac:grpSpMkLst>
            <pc:docMk/>
            <pc:sldMk cId="2715760571" sldId="311"/>
            <ac:grpSpMk id="275" creationId="{C251C151-F788-49E7-BAC0-0C99A4789125}"/>
          </ac:grpSpMkLst>
        </pc:grpChg>
        <pc:graphicFrameChg chg="modGraphic">
          <ac:chgData name="PROVENCHERE Sandrine" userId="ad1decff-d2ce-4d29-9d90-3591b80bc438" providerId="ADAL" clId="{A1BB9380-C3A6-4BB1-BECC-68ED57B5A022}" dt="2022-01-12T08:35:51.705" v="1289" actId="20577"/>
          <ac:graphicFrameMkLst>
            <pc:docMk/>
            <pc:sldMk cId="2715760571" sldId="311"/>
            <ac:graphicFrameMk id="20" creationId="{93A48EBA-2AD7-476B-9F3C-BD0243C4D4A9}"/>
          </ac:graphicFrameMkLst>
        </pc:graphicFrameChg>
        <pc:graphicFrameChg chg="modGraphic">
          <ac:chgData name="PROVENCHERE Sandrine" userId="ad1decff-d2ce-4d29-9d90-3591b80bc438" providerId="ADAL" clId="{A1BB9380-C3A6-4BB1-BECC-68ED57B5A022}" dt="2022-01-12T08:35:56.825" v="1292" actId="20577"/>
          <ac:graphicFrameMkLst>
            <pc:docMk/>
            <pc:sldMk cId="2715760571" sldId="311"/>
            <ac:graphicFrameMk id="214" creationId="{6A0534B6-8444-4A56-BB53-5AEEDA1F0D0E}"/>
          </ac:graphicFrameMkLst>
        </pc:graphicFrameChg>
        <pc:graphicFrameChg chg="del">
          <ac:chgData name="PROVENCHERE Sandrine" userId="ad1decff-d2ce-4d29-9d90-3591b80bc438" providerId="ADAL" clId="{A1BB9380-C3A6-4BB1-BECC-68ED57B5A022}" dt="2022-01-12T08:48:50.341" v="1508" actId="478"/>
          <ac:graphicFrameMkLst>
            <pc:docMk/>
            <pc:sldMk cId="2715760571" sldId="311"/>
            <ac:graphicFrameMk id="282" creationId="{4A9F05B8-4C61-41AD-B6FE-012BC0EA6717}"/>
          </ac:graphicFrameMkLst>
        </pc:graphicFrameChg>
        <pc:graphicFrameChg chg="mod">
          <ac:chgData name="PROVENCHERE Sandrine" userId="ad1decff-d2ce-4d29-9d90-3591b80bc438" providerId="ADAL" clId="{A1BB9380-C3A6-4BB1-BECC-68ED57B5A022}" dt="2022-01-12T08:41:04.816" v="1329" actId="403"/>
          <ac:graphicFrameMkLst>
            <pc:docMk/>
            <pc:sldMk cId="2715760571" sldId="311"/>
            <ac:graphicFrameMk id="298" creationId="{4F57DD76-65BE-40D3-81A7-6F8E9B4004A6}"/>
          </ac:graphicFrameMkLst>
        </pc:graphicFrameChg>
        <pc:graphicFrameChg chg="mod">
          <ac:chgData name="PROVENCHERE Sandrine" userId="ad1decff-d2ce-4d29-9d90-3591b80bc438" providerId="ADAL" clId="{A1BB9380-C3A6-4BB1-BECC-68ED57B5A022}" dt="2022-01-12T08:55:35.255" v="1598" actId="20577"/>
          <ac:graphicFrameMkLst>
            <pc:docMk/>
            <pc:sldMk cId="2715760571" sldId="311"/>
            <ac:graphicFrameMk id="299" creationId="{2EF13C65-5C1F-4936-A2E6-9CFDB585282E}"/>
          </ac:graphicFrameMkLst>
        </pc:graphicFrameChg>
        <pc:graphicFrameChg chg="del">
          <ac:chgData name="PROVENCHERE Sandrine" userId="ad1decff-d2ce-4d29-9d90-3591b80bc438" providerId="ADAL" clId="{A1BB9380-C3A6-4BB1-BECC-68ED57B5A022}" dt="2022-01-12T08:50:49.424" v="1554" actId="478"/>
          <ac:graphicFrameMkLst>
            <pc:docMk/>
            <pc:sldMk cId="2715760571" sldId="311"/>
            <ac:graphicFrameMk id="300" creationId="{2EFAD91C-BAC7-4F15-859B-7DC7BBC5D264}"/>
          </ac:graphicFrameMkLst>
        </pc:graphicFrameChg>
        <pc:graphicFrameChg chg="mod">
          <ac:chgData name="PROVENCHERE Sandrine" userId="ad1decff-d2ce-4d29-9d90-3591b80bc438" providerId="ADAL" clId="{A1BB9380-C3A6-4BB1-BECC-68ED57B5A022}" dt="2022-01-12T08:41:48.075" v="1339" actId="404"/>
          <ac:graphicFrameMkLst>
            <pc:docMk/>
            <pc:sldMk cId="2715760571" sldId="311"/>
            <ac:graphicFrameMk id="306" creationId="{0227E1C9-1B7B-4F1E-845D-1023CE41C07D}"/>
          </ac:graphicFrameMkLst>
        </pc:graphicFrameChg>
        <pc:graphicFrameChg chg="add mod">
          <ac:chgData name="PROVENCHERE Sandrine" userId="ad1decff-d2ce-4d29-9d90-3591b80bc438" providerId="ADAL" clId="{A1BB9380-C3A6-4BB1-BECC-68ED57B5A022}" dt="2022-01-12T08:52:18.808" v="1580"/>
          <ac:graphicFrameMkLst>
            <pc:docMk/>
            <pc:sldMk cId="2715760571" sldId="311"/>
            <ac:graphicFrameMk id="308" creationId="{4A9F05B8-4C61-41AD-B6FE-012BC0EA6717}"/>
          </ac:graphicFrameMkLst>
        </pc:graphicFrameChg>
        <pc:graphicFrameChg chg="add mod">
          <ac:chgData name="PROVENCHERE Sandrine" userId="ad1decff-d2ce-4d29-9d90-3591b80bc438" providerId="ADAL" clId="{A1BB9380-C3A6-4BB1-BECC-68ED57B5A022}" dt="2022-01-12T08:52:10.270" v="1579" actId="12789"/>
          <ac:graphicFrameMkLst>
            <pc:docMk/>
            <pc:sldMk cId="2715760571" sldId="311"/>
            <ac:graphicFrameMk id="309" creationId="{2EFAD91C-BAC7-4F15-859B-7DC7BBC5D264}"/>
          </ac:graphicFrameMkLst>
        </pc:graphicFrameChg>
        <pc:graphicFrameChg chg="del mod">
          <ac:chgData name="PROVENCHERE Sandrine" userId="ad1decff-d2ce-4d29-9d90-3591b80bc438" providerId="ADAL" clId="{A1BB9380-C3A6-4BB1-BECC-68ED57B5A022}" dt="2022-01-12T08:57:36.388" v="1616" actId="478"/>
          <ac:graphicFrameMkLst>
            <pc:docMk/>
            <pc:sldMk cId="2715760571" sldId="311"/>
            <ac:graphicFrameMk id="316" creationId="{041E5848-3AA0-4E46-94C4-37B828B199AC}"/>
          </ac:graphicFrameMkLst>
        </pc:graphicFrameChg>
        <pc:graphicFrameChg chg="add mod">
          <ac:chgData name="PROVENCHERE Sandrine" userId="ad1decff-d2ce-4d29-9d90-3591b80bc438" providerId="ADAL" clId="{A1BB9380-C3A6-4BB1-BECC-68ED57B5A022}" dt="2022-01-12T08:59:10.609" v="1639" actId="20577"/>
          <ac:graphicFrameMkLst>
            <pc:docMk/>
            <pc:sldMk cId="2715760571" sldId="311"/>
            <ac:graphicFrameMk id="317" creationId="{C53FC16D-9406-421E-BF7F-770DC6579DD7}"/>
          </ac:graphicFrameMkLst>
        </pc:graphicFrameChg>
        <pc:cxnChg chg="mod ord">
          <ac:chgData name="PROVENCHERE Sandrine" userId="ad1decff-d2ce-4d29-9d90-3591b80bc438" providerId="ADAL" clId="{A1BB9380-C3A6-4BB1-BECC-68ED57B5A022}" dt="2022-01-12T08:49:56.625" v="1533" actId="1037"/>
          <ac:cxnSpMkLst>
            <pc:docMk/>
            <pc:sldMk cId="2715760571" sldId="311"/>
            <ac:cxnSpMk id="7" creationId="{62A22F70-FB03-456A-83CB-014703592A3E}"/>
          </ac:cxnSpMkLst>
        </pc:cxnChg>
        <pc:cxnChg chg="mod">
          <ac:chgData name="PROVENCHERE Sandrine" userId="ad1decff-d2ce-4d29-9d90-3591b80bc438" providerId="ADAL" clId="{A1BB9380-C3A6-4BB1-BECC-68ED57B5A022}" dt="2022-01-12T08:45:24.672" v="1484"/>
          <ac:cxnSpMkLst>
            <pc:docMk/>
            <pc:sldMk cId="2715760571" sldId="311"/>
            <ac:cxnSpMk id="182" creationId="{07A55685-C7B4-4401-941E-1166B8071A5C}"/>
          </ac:cxnSpMkLst>
        </pc:cxnChg>
        <pc:cxnChg chg="mod">
          <ac:chgData name="PROVENCHERE Sandrine" userId="ad1decff-d2ce-4d29-9d90-3591b80bc438" providerId="ADAL" clId="{A1BB9380-C3A6-4BB1-BECC-68ED57B5A022}" dt="2022-01-12T08:45:24.672" v="1484"/>
          <ac:cxnSpMkLst>
            <pc:docMk/>
            <pc:sldMk cId="2715760571" sldId="311"/>
            <ac:cxnSpMk id="186" creationId="{E389F983-B78E-49B8-94EE-79DA9F4D1C94}"/>
          </ac:cxnSpMkLst>
        </pc:cxnChg>
        <pc:cxnChg chg="mod">
          <ac:chgData name="PROVENCHERE Sandrine" userId="ad1decff-d2ce-4d29-9d90-3591b80bc438" providerId="ADAL" clId="{A1BB9380-C3A6-4BB1-BECC-68ED57B5A022}" dt="2022-01-12T08:44:44.198" v="1392" actId="14100"/>
          <ac:cxnSpMkLst>
            <pc:docMk/>
            <pc:sldMk cId="2715760571" sldId="311"/>
            <ac:cxnSpMk id="234" creationId="{FC4E85DB-0484-4A71-87F1-67F87994B7D1}"/>
          </ac:cxnSpMkLst>
        </pc:cxnChg>
        <pc:cxnChg chg="del topLvl">
          <ac:chgData name="PROVENCHERE Sandrine" userId="ad1decff-d2ce-4d29-9d90-3591b80bc438" providerId="ADAL" clId="{A1BB9380-C3A6-4BB1-BECC-68ED57B5A022}" dt="2022-01-12T08:45:22.143" v="1482" actId="478"/>
          <ac:cxnSpMkLst>
            <pc:docMk/>
            <pc:sldMk cId="2715760571" sldId="311"/>
            <ac:cxnSpMk id="274" creationId="{006E24B7-AAC3-4C72-B348-ED678821DA10}"/>
          </ac:cxnSpMkLst>
        </pc:cxnChg>
        <pc:cxnChg chg="mod ord">
          <ac:chgData name="PROVENCHERE Sandrine" userId="ad1decff-d2ce-4d29-9d90-3591b80bc438" providerId="ADAL" clId="{A1BB9380-C3A6-4BB1-BECC-68ED57B5A022}" dt="2022-01-12T08:52:04.073" v="1578" actId="1037"/>
          <ac:cxnSpMkLst>
            <pc:docMk/>
            <pc:sldMk cId="2715760571" sldId="311"/>
            <ac:cxnSpMk id="279" creationId="{96EB7270-1670-4F9D-A817-68DA75900D78}"/>
          </ac:cxnSpMkLst>
        </pc:cxnChg>
        <pc:cxnChg chg="del">
          <ac:chgData name="PROVENCHERE Sandrine" userId="ad1decff-d2ce-4d29-9d90-3591b80bc438" providerId="ADAL" clId="{A1BB9380-C3A6-4BB1-BECC-68ED57B5A022}" dt="2022-01-12T08:57:40.735" v="1617" actId="478"/>
          <ac:cxnSpMkLst>
            <pc:docMk/>
            <pc:sldMk cId="2715760571" sldId="311"/>
            <ac:cxnSpMk id="286" creationId="{792D639D-417A-4350-96F5-6C3B528BEBB9}"/>
          </ac:cxnSpMkLst>
        </pc:cxnChg>
        <pc:cxnChg chg="del">
          <ac:chgData name="PROVENCHERE Sandrine" userId="ad1decff-d2ce-4d29-9d90-3591b80bc438" providerId="ADAL" clId="{A1BB9380-C3A6-4BB1-BECC-68ED57B5A022}" dt="2022-01-12T08:57:40.735" v="1617" actId="478"/>
          <ac:cxnSpMkLst>
            <pc:docMk/>
            <pc:sldMk cId="2715760571" sldId="311"/>
            <ac:cxnSpMk id="292" creationId="{4EB1CD05-6D2E-4B27-BE3A-C5D18551CFBC}"/>
          </ac:cxnSpMkLst>
        </pc:cxnChg>
        <pc:cxnChg chg="del">
          <ac:chgData name="PROVENCHERE Sandrine" userId="ad1decff-d2ce-4d29-9d90-3591b80bc438" providerId="ADAL" clId="{A1BB9380-C3A6-4BB1-BECC-68ED57B5A022}" dt="2022-01-12T08:57:40.735" v="1617" actId="478"/>
          <ac:cxnSpMkLst>
            <pc:docMk/>
            <pc:sldMk cId="2715760571" sldId="311"/>
            <ac:cxnSpMk id="293" creationId="{3BD8CEDC-D973-47B5-AC94-45DBAEF262DA}"/>
          </ac:cxnSpMkLst>
        </pc:cxnChg>
        <pc:cxnChg chg="del">
          <ac:chgData name="PROVENCHERE Sandrine" userId="ad1decff-d2ce-4d29-9d90-3591b80bc438" providerId="ADAL" clId="{A1BB9380-C3A6-4BB1-BECC-68ED57B5A022}" dt="2022-01-12T08:57:40.735" v="1617" actId="478"/>
          <ac:cxnSpMkLst>
            <pc:docMk/>
            <pc:sldMk cId="2715760571" sldId="311"/>
            <ac:cxnSpMk id="294" creationId="{4A4D7B39-E4E5-49A1-9AFF-D7FD943668B1}"/>
          </ac:cxnSpMkLst>
        </pc:cxnChg>
        <pc:cxnChg chg="del">
          <ac:chgData name="PROVENCHERE Sandrine" userId="ad1decff-d2ce-4d29-9d90-3591b80bc438" providerId="ADAL" clId="{A1BB9380-C3A6-4BB1-BECC-68ED57B5A022}" dt="2022-01-12T08:57:40.735" v="1617" actId="478"/>
          <ac:cxnSpMkLst>
            <pc:docMk/>
            <pc:sldMk cId="2715760571" sldId="311"/>
            <ac:cxnSpMk id="295" creationId="{74B4828D-8D30-402D-8676-15BCB2E86513}"/>
          </ac:cxnSpMkLst>
        </pc:cxnChg>
        <pc:cxnChg chg="add mod">
          <ac:chgData name="PROVENCHERE Sandrine" userId="ad1decff-d2ce-4d29-9d90-3591b80bc438" providerId="ADAL" clId="{A1BB9380-C3A6-4BB1-BECC-68ED57B5A022}" dt="2022-01-12T08:57:43.071" v="1618"/>
          <ac:cxnSpMkLst>
            <pc:docMk/>
            <pc:sldMk cId="2715760571" sldId="311"/>
            <ac:cxnSpMk id="310" creationId="{6332D18C-F15B-40FF-A717-CBAB70E358FC}"/>
          </ac:cxnSpMkLst>
        </pc:cxnChg>
        <pc:cxnChg chg="add mod">
          <ac:chgData name="PROVENCHERE Sandrine" userId="ad1decff-d2ce-4d29-9d90-3591b80bc438" providerId="ADAL" clId="{A1BB9380-C3A6-4BB1-BECC-68ED57B5A022}" dt="2022-01-12T08:57:43.071" v="1618"/>
          <ac:cxnSpMkLst>
            <pc:docMk/>
            <pc:sldMk cId="2715760571" sldId="311"/>
            <ac:cxnSpMk id="311" creationId="{F4FE59BA-8DB5-4E28-9CFD-309B61B74436}"/>
          </ac:cxnSpMkLst>
        </pc:cxnChg>
        <pc:cxnChg chg="add mod">
          <ac:chgData name="PROVENCHERE Sandrine" userId="ad1decff-d2ce-4d29-9d90-3591b80bc438" providerId="ADAL" clId="{A1BB9380-C3A6-4BB1-BECC-68ED57B5A022}" dt="2022-01-12T08:57:43.071" v="1618"/>
          <ac:cxnSpMkLst>
            <pc:docMk/>
            <pc:sldMk cId="2715760571" sldId="311"/>
            <ac:cxnSpMk id="312" creationId="{037417C2-AC5B-4792-9405-BDF73A07FD32}"/>
          </ac:cxnSpMkLst>
        </pc:cxnChg>
        <pc:cxnChg chg="add mod">
          <ac:chgData name="PROVENCHERE Sandrine" userId="ad1decff-d2ce-4d29-9d90-3591b80bc438" providerId="ADAL" clId="{A1BB9380-C3A6-4BB1-BECC-68ED57B5A022}" dt="2022-01-12T08:57:43.071" v="1618"/>
          <ac:cxnSpMkLst>
            <pc:docMk/>
            <pc:sldMk cId="2715760571" sldId="311"/>
            <ac:cxnSpMk id="313" creationId="{26AC2337-4B9A-430F-AB50-DF1BCA5AA3A1}"/>
          </ac:cxnSpMkLst>
        </pc:cxnChg>
        <pc:cxnChg chg="add mod">
          <ac:chgData name="PROVENCHERE Sandrine" userId="ad1decff-d2ce-4d29-9d90-3591b80bc438" providerId="ADAL" clId="{A1BB9380-C3A6-4BB1-BECC-68ED57B5A022}" dt="2022-01-12T08:57:43.071" v="1618"/>
          <ac:cxnSpMkLst>
            <pc:docMk/>
            <pc:sldMk cId="2715760571" sldId="311"/>
            <ac:cxnSpMk id="314" creationId="{92C4C820-5E60-42D9-9057-635549F11DC0}"/>
          </ac:cxnSpMkLst>
        </pc:cxnChg>
        <pc:cxnChg chg="add mod">
          <ac:chgData name="PROVENCHERE Sandrine" userId="ad1decff-d2ce-4d29-9d90-3591b80bc438" providerId="ADAL" clId="{A1BB9380-C3A6-4BB1-BECC-68ED57B5A022}" dt="2022-01-12T08:57:43.071" v="1618"/>
          <ac:cxnSpMkLst>
            <pc:docMk/>
            <pc:sldMk cId="2715760571" sldId="311"/>
            <ac:cxnSpMk id="315" creationId="{0FDF24B6-8889-4237-ACDA-D9B1C2B2B830}"/>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erametgroup-my.sharepoint.com/personal/sandrine_provenchere_eramet_com/Documents/06_DASHBOARD/Dashboard-Suivi-Mensuel-Aero/Nausicaa/Deck_Trafic-Aero.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2.xml.rels><?xml version="1.0" encoding="UTF-8" standalone="yes"?>
<Relationships xmlns="http://schemas.openxmlformats.org/package/2006/relationships"><Relationship Id="rId3" Type="http://schemas.openxmlformats.org/officeDocument/2006/relationships/oleObject" Target="Classeur3"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6.xml.rels><?xml version="1.0" encoding="UTF-8" standalone="yes"?>
<Relationships xmlns="http://schemas.openxmlformats.org/package/2006/relationships"><Relationship Id="rId3" Type="http://schemas.openxmlformats.org/officeDocument/2006/relationships/oleObject" Target="https://erametgroup-my.sharepoint.com/personal/sandrine_provenchere_eramet_com/Documents/06_DASHBOARD/Dashboard-Suivi-Mensuel-Aero/DASHBOARD/2021/2021_Dashboard_march&#233;-AERO.xlsx" TargetMode="External"/><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oleObject" Target="https://erametgroup-my.sharepoint.com/personal/sandrine_provenchere_eramet_com/Documents/06_DASHBOARD/Dashboard-Suivi-Mensuel-Aero/DASHBOARD/2021/2021_Dashboard_march&#233;-AERO.xlsx" TargetMode="External"/><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5"/>
          <c:order val="5"/>
          <c:tx>
            <c:strRef>
              <c:f>FlightTrack!$B$3</c:f>
              <c:strCache>
                <c:ptCount val="1"/>
                <c:pt idx="0">
                  <c:v>2021 7-day moving average</c:v>
                </c:pt>
              </c:strCache>
            </c:strRef>
          </c:tx>
          <c:spPr>
            <a:ln w="28575" cap="rnd">
              <a:solidFill>
                <a:schemeClr val="accent6"/>
              </a:solidFill>
              <a:round/>
            </a:ln>
            <a:effectLst/>
          </c:spPr>
          <c:marker>
            <c:symbol val="none"/>
          </c:marker>
          <c:cat>
            <c:numRef>
              <c:f>FlightTrack!$A$4:$A$307</c:f>
              <c:numCache>
                <c:formatCode>[$-40C]d\-mmm;@</c:formatCode>
                <c:ptCount val="304"/>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1</c:v>
                </c:pt>
                <c:pt idx="60">
                  <c:v>43892</c:v>
                </c:pt>
                <c:pt idx="61">
                  <c:v>43893</c:v>
                </c:pt>
                <c:pt idx="62">
                  <c:v>43894</c:v>
                </c:pt>
                <c:pt idx="63">
                  <c:v>43895</c:v>
                </c:pt>
                <c:pt idx="64">
                  <c:v>43896</c:v>
                </c:pt>
                <c:pt idx="65">
                  <c:v>43897</c:v>
                </c:pt>
                <c:pt idx="66">
                  <c:v>43898</c:v>
                </c:pt>
                <c:pt idx="67">
                  <c:v>43899</c:v>
                </c:pt>
                <c:pt idx="68">
                  <c:v>43900</c:v>
                </c:pt>
                <c:pt idx="69">
                  <c:v>43901</c:v>
                </c:pt>
                <c:pt idx="70">
                  <c:v>43902</c:v>
                </c:pt>
                <c:pt idx="71">
                  <c:v>43903</c:v>
                </c:pt>
                <c:pt idx="72">
                  <c:v>43904</c:v>
                </c:pt>
                <c:pt idx="73">
                  <c:v>43905</c:v>
                </c:pt>
                <c:pt idx="74">
                  <c:v>43906</c:v>
                </c:pt>
                <c:pt idx="75">
                  <c:v>43907</c:v>
                </c:pt>
                <c:pt idx="76">
                  <c:v>43908</c:v>
                </c:pt>
                <c:pt idx="77">
                  <c:v>43909</c:v>
                </c:pt>
                <c:pt idx="78">
                  <c:v>43910</c:v>
                </c:pt>
                <c:pt idx="79">
                  <c:v>43911</c:v>
                </c:pt>
                <c:pt idx="80">
                  <c:v>43912</c:v>
                </c:pt>
                <c:pt idx="81">
                  <c:v>43913</c:v>
                </c:pt>
                <c:pt idx="82">
                  <c:v>43914</c:v>
                </c:pt>
                <c:pt idx="83">
                  <c:v>43915</c:v>
                </c:pt>
                <c:pt idx="84">
                  <c:v>43916</c:v>
                </c:pt>
                <c:pt idx="85">
                  <c:v>43917</c:v>
                </c:pt>
                <c:pt idx="86">
                  <c:v>43918</c:v>
                </c:pt>
                <c:pt idx="87">
                  <c:v>43919</c:v>
                </c:pt>
                <c:pt idx="88">
                  <c:v>43920</c:v>
                </c:pt>
                <c:pt idx="89">
                  <c:v>43921</c:v>
                </c:pt>
                <c:pt idx="90">
                  <c:v>43922</c:v>
                </c:pt>
                <c:pt idx="91">
                  <c:v>43923</c:v>
                </c:pt>
                <c:pt idx="92">
                  <c:v>43924</c:v>
                </c:pt>
                <c:pt idx="93">
                  <c:v>43925</c:v>
                </c:pt>
                <c:pt idx="94">
                  <c:v>43926</c:v>
                </c:pt>
                <c:pt idx="95">
                  <c:v>43927</c:v>
                </c:pt>
                <c:pt idx="96">
                  <c:v>43928</c:v>
                </c:pt>
                <c:pt idx="97">
                  <c:v>43929</c:v>
                </c:pt>
                <c:pt idx="98">
                  <c:v>43930</c:v>
                </c:pt>
                <c:pt idx="99">
                  <c:v>43931</c:v>
                </c:pt>
                <c:pt idx="100">
                  <c:v>43932</c:v>
                </c:pt>
                <c:pt idx="101">
                  <c:v>43933</c:v>
                </c:pt>
                <c:pt idx="102">
                  <c:v>43934</c:v>
                </c:pt>
                <c:pt idx="103">
                  <c:v>43935</c:v>
                </c:pt>
                <c:pt idx="104">
                  <c:v>43936</c:v>
                </c:pt>
                <c:pt idx="105">
                  <c:v>43937</c:v>
                </c:pt>
                <c:pt idx="106">
                  <c:v>43938</c:v>
                </c:pt>
                <c:pt idx="107">
                  <c:v>43939</c:v>
                </c:pt>
                <c:pt idx="108">
                  <c:v>43940</c:v>
                </c:pt>
                <c:pt idx="109">
                  <c:v>43941</c:v>
                </c:pt>
                <c:pt idx="110">
                  <c:v>43942</c:v>
                </c:pt>
                <c:pt idx="111">
                  <c:v>43943</c:v>
                </c:pt>
                <c:pt idx="112">
                  <c:v>43944</c:v>
                </c:pt>
                <c:pt idx="113">
                  <c:v>43945</c:v>
                </c:pt>
                <c:pt idx="114">
                  <c:v>43946</c:v>
                </c:pt>
                <c:pt idx="115">
                  <c:v>43947</c:v>
                </c:pt>
                <c:pt idx="116">
                  <c:v>43948</c:v>
                </c:pt>
                <c:pt idx="117">
                  <c:v>43949</c:v>
                </c:pt>
                <c:pt idx="118">
                  <c:v>43950</c:v>
                </c:pt>
                <c:pt idx="119">
                  <c:v>43951</c:v>
                </c:pt>
                <c:pt idx="120">
                  <c:v>43952</c:v>
                </c:pt>
                <c:pt idx="121">
                  <c:v>43953</c:v>
                </c:pt>
                <c:pt idx="122">
                  <c:v>43954</c:v>
                </c:pt>
                <c:pt idx="123">
                  <c:v>43955</c:v>
                </c:pt>
                <c:pt idx="124">
                  <c:v>43956</c:v>
                </c:pt>
                <c:pt idx="125">
                  <c:v>43957</c:v>
                </c:pt>
                <c:pt idx="126">
                  <c:v>43958</c:v>
                </c:pt>
                <c:pt idx="127">
                  <c:v>43959</c:v>
                </c:pt>
                <c:pt idx="128">
                  <c:v>43960</c:v>
                </c:pt>
                <c:pt idx="129">
                  <c:v>43961</c:v>
                </c:pt>
                <c:pt idx="130">
                  <c:v>43962</c:v>
                </c:pt>
                <c:pt idx="131">
                  <c:v>43963</c:v>
                </c:pt>
                <c:pt idx="132">
                  <c:v>43964</c:v>
                </c:pt>
                <c:pt idx="133">
                  <c:v>43965</c:v>
                </c:pt>
                <c:pt idx="134">
                  <c:v>43966</c:v>
                </c:pt>
                <c:pt idx="135">
                  <c:v>43967</c:v>
                </c:pt>
                <c:pt idx="136">
                  <c:v>43968</c:v>
                </c:pt>
                <c:pt idx="137">
                  <c:v>43969</c:v>
                </c:pt>
                <c:pt idx="138">
                  <c:v>43970</c:v>
                </c:pt>
                <c:pt idx="139">
                  <c:v>43971</c:v>
                </c:pt>
                <c:pt idx="140">
                  <c:v>43972</c:v>
                </c:pt>
                <c:pt idx="141">
                  <c:v>43973</c:v>
                </c:pt>
                <c:pt idx="142">
                  <c:v>43974</c:v>
                </c:pt>
                <c:pt idx="143">
                  <c:v>43975</c:v>
                </c:pt>
                <c:pt idx="144">
                  <c:v>43976</c:v>
                </c:pt>
                <c:pt idx="145">
                  <c:v>43977</c:v>
                </c:pt>
                <c:pt idx="146">
                  <c:v>43978</c:v>
                </c:pt>
                <c:pt idx="147">
                  <c:v>43979</c:v>
                </c:pt>
                <c:pt idx="148">
                  <c:v>43980</c:v>
                </c:pt>
                <c:pt idx="149">
                  <c:v>43981</c:v>
                </c:pt>
                <c:pt idx="150">
                  <c:v>43982</c:v>
                </c:pt>
                <c:pt idx="151">
                  <c:v>43983</c:v>
                </c:pt>
                <c:pt idx="152">
                  <c:v>43984</c:v>
                </c:pt>
                <c:pt idx="153">
                  <c:v>43985</c:v>
                </c:pt>
                <c:pt idx="154">
                  <c:v>43986</c:v>
                </c:pt>
                <c:pt idx="155">
                  <c:v>43987</c:v>
                </c:pt>
                <c:pt idx="156">
                  <c:v>43988</c:v>
                </c:pt>
                <c:pt idx="157">
                  <c:v>43989</c:v>
                </c:pt>
                <c:pt idx="158">
                  <c:v>43990</c:v>
                </c:pt>
                <c:pt idx="159">
                  <c:v>43991</c:v>
                </c:pt>
                <c:pt idx="160">
                  <c:v>43992</c:v>
                </c:pt>
                <c:pt idx="161">
                  <c:v>43993</c:v>
                </c:pt>
                <c:pt idx="162">
                  <c:v>43994</c:v>
                </c:pt>
                <c:pt idx="163">
                  <c:v>43995</c:v>
                </c:pt>
                <c:pt idx="164">
                  <c:v>43996</c:v>
                </c:pt>
                <c:pt idx="165">
                  <c:v>43997</c:v>
                </c:pt>
                <c:pt idx="166">
                  <c:v>43998</c:v>
                </c:pt>
                <c:pt idx="167">
                  <c:v>43999</c:v>
                </c:pt>
                <c:pt idx="168">
                  <c:v>44000</c:v>
                </c:pt>
                <c:pt idx="169">
                  <c:v>44001</c:v>
                </c:pt>
                <c:pt idx="170">
                  <c:v>44002</c:v>
                </c:pt>
                <c:pt idx="171">
                  <c:v>44003</c:v>
                </c:pt>
                <c:pt idx="172">
                  <c:v>44004</c:v>
                </c:pt>
                <c:pt idx="173">
                  <c:v>44005</c:v>
                </c:pt>
                <c:pt idx="174">
                  <c:v>44006</c:v>
                </c:pt>
                <c:pt idx="175">
                  <c:v>44007</c:v>
                </c:pt>
                <c:pt idx="176">
                  <c:v>44008</c:v>
                </c:pt>
                <c:pt idx="177">
                  <c:v>44009</c:v>
                </c:pt>
                <c:pt idx="178">
                  <c:v>44010</c:v>
                </c:pt>
                <c:pt idx="179">
                  <c:v>44011</c:v>
                </c:pt>
                <c:pt idx="180">
                  <c:v>44012</c:v>
                </c:pt>
                <c:pt idx="181">
                  <c:v>44013</c:v>
                </c:pt>
                <c:pt idx="182">
                  <c:v>44014</c:v>
                </c:pt>
                <c:pt idx="183">
                  <c:v>44015</c:v>
                </c:pt>
                <c:pt idx="184">
                  <c:v>44016</c:v>
                </c:pt>
                <c:pt idx="185">
                  <c:v>44017</c:v>
                </c:pt>
                <c:pt idx="186">
                  <c:v>44018</c:v>
                </c:pt>
                <c:pt idx="187">
                  <c:v>44019</c:v>
                </c:pt>
                <c:pt idx="188">
                  <c:v>44020</c:v>
                </c:pt>
                <c:pt idx="189">
                  <c:v>44021</c:v>
                </c:pt>
                <c:pt idx="190">
                  <c:v>44022</c:v>
                </c:pt>
                <c:pt idx="191">
                  <c:v>44023</c:v>
                </c:pt>
                <c:pt idx="192">
                  <c:v>44024</c:v>
                </c:pt>
                <c:pt idx="193">
                  <c:v>44025</c:v>
                </c:pt>
                <c:pt idx="194">
                  <c:v>44026</c:v>
                </c:pt>
                <c:pt idx="195">
                  <c:v>44027</c:v>
                </c:pt>
                <c:pt idx="196">
                  <c:v>44028</c:v>
                </c:pt>
                <c:pt idx="197">
                  <c:v>44029</c:v>
                </c:pt>
                <c:pt idx="198">
                  <c:v>44030</c:v>
                </c:pt>
                <c:pt idx="199">
                  <c:v>44031</c:v>
                </c:pt>
                <c:pt idx="200">
                  <c:v>44032</c:v>
                </c:pt>
                <c:pt idx="201">
                  <c:v>44033</c:v>
                </c:pt>
                <c:pt idx="202">
                  <c:v>44034</c:v>
                </c:pt>
                <c:pt idx="203">
                  <c:v>44035</c:v>
                </c:pt>
                <c:pt idx="204">
                  <c:v>44036</c:v>
                </c:pt>
                <c:pt idx="205">
                  <c:v>44037</c:v>
                </c:pt>
                <c:pt idx="206">
                  <c:v>44038</c:v>
                </c:pt>
                <c:pt idx="207">
                  <c:v>44039</c:v>
                </c:pt>
                <c:pt idx="208">
                  <c:v>44040</c:v>
                </c:pt>
                <c:pt idx="209">
                  <c:v>44041</c:v>
                </c:pt>
                <c:pt idx="210">
                  <c:v>44042</c:v>
                </c:pt>
                <c:pt idx="211">
                  <c:v>44043</c:v>
                </c:pt>
                <c:pt idx="212">
                  <c:v>44044</c:v>
                </c:pt>
                <c:pt idx="213">
                  <c:v>44045</c:v>
                </c:pt>
                <c:pt idx="214">
                  <c:v>44046</c:v>
                </c:pt>
                <c:pt idx="215">
                  <c:v>44047</c:v>
                </c:pt>
                <c:pt idx="216">
                  <c:v>44048</c:v>
                </c:pt>
                <c:pt idx="217">
                  <c:v>44049</c:v>
                </c:pt>
                <c:pt idx="218">
                  <c:v>44050</c:v>
                </c:pt>
                <c:pt idx="219">
                  <c:v>44051</c:v>
                </c:pt>
                <c:pt idx="220">
                  <c:v>44052</c:v>
                </c:pt>
                <c:pt idx="221">
                  <c:v>44053</c:v>
                </c:pt>
                <c:pt idx="222">
                  <c:v>44054</c:v>
                </c:pt>
                <c:pt idx="223">
                  <c:v>44055</c:v>
                </c:pt>
                <c:pt idx="224">
                  <c:v>44056</c:v>
                </c:pt>
                <c:pt idx="225">
                  <c:v>44057</c:v>
                </c:pt>
                <c:pt idx="226">
                  <c:v>44058</c:v>
                </c:pt>
                <c:pt idx="227">
                  <c:v>44059</c:v>
                </c:pt>
                <c:pt idx="228">
                  <c:v>44060</c:v>
                </c:pt>
                <c:pt idx="229">
                  <c:v>44061</c:v>
                </c:pt>
                <c:pt idx="230">
                  <c:v>44062</c:v>
                </c:pt>
                <c:pt idx="231">
                  <c:v>44063</c:v>
                </c:pt>
                <c:pt idx="232">
                  <c:v>44064</c:v>
                </c:pt>
                <c:pt idx="233">
                  <c:v>44065</c:v>
                </c:pt>
                <c:pt idx="234">
                  <c:v>44066</c:v>
                </c:pt>
                <c:pt idx="235">
                  <c:v>44067</c:v>
                </c:pt>
                <c:pt idx="236">
                  <c:v>44068</c:v>
                </c:pt>
                <c:pt idx="237">
                  <c:v>44069</c:v>
                </c:pt>
                <c:pt idx="238">
                  <c:v>44070</c:v>
                </c:pt>
                <c:pt idx="239">
                  <c:v>44071</c:v>
                </c:pt>
                <c:pt idx="240">
                  <c:v>44072</c:v>
                </c:pt>
                <c:pt idx="241">
                  <c:v>44073</c:v>
                </c:pt>
                <c:pt idx="242">
                  <c:v>44074</c:v>
                </c:pt>
                <c:pt idx="243">
                  <c:v>44075</c:v>
                </c:pt>
                <c:pt idx="244">
                  <c:v>44076</c:v>
                </c:pt>
                <c:pt idx="245">
                  <c:v>44077</c:v>
                </c:pt>
                <c:pt idx="246">
                  <c:v>44078</c:v>
                </c:pt>
                <c:pt idx="247">
                  <c:v>44079</c:v>
                </c:pt>
                <c:pt idx="248">
                  <c:v>44080</c:v>
                </c:pt>
                <c:pt idx="249">
                  <c:v>44081</c:v>
                </c:pt>
                <c:pt idx="250">
                  <c:v>44082</c:v>
                </c:pt>
                <c:pt idx="251">
                  <c:v>44083</c:v>
                </c:pt>
                <c:pt idx="252">
                  <c:v>44084</c:v>
                </c:pt>
                <c:pt idx="253">
                  <c:v>44085</c:v>
                </c:pt>
                <c:pt idx="254">
                  <c:v>44086</c:v>
                </c:pt>
                <c:pt idx="255">
                  <c:v>44087</c:v>
                </c:pt>
                <c:pt idx="256">
                  <c:v>44088</c:v>
                </c:pt>
                <c:pt idx="257">
                  <c:v>44089</c:v>
                </c:pt>
                <c:pt idx="258">
                  <c:v>44090</c:v>
                </c:pt>
                <c:pt idx="259">
                  <c:v>44091</c:v>
                </c:pt>
                <c:pt idx="260">
                  <c:v>44092</c:v>
                </c:pt>
                <c:pt idx="261">
                  <c:v>44093</c:v>
                </c:pt>
                <c:pt idx="262">
                  <c:v>44094</c:v>
                </c:pt>
                <c:pt idx="263">
                  <c:v>44095</c:v>
                </c:pt>
                <c:pt idx="264">
                  <c:v>44096</c:v>
                </c:pt>
                <c:pt idx="265">
                  <c:v>44097</c:v>
                </c:pt>
                <c:pt idx="266">
                  <c:v>44098</c:v>
                </c:pt>
                <c:pt idx="267">
                  <c:v>44099</c:v>
                </c:pt>
                <c:pt idx="268">
                  <c:v>44100</c:v>
                </c:pt>
                <c:pt idx="269">
                  <c:v>44101</c:v>
                </c:pt>
                <c:pt idx="270">
                  <c:v>44102</c:v>
                </c:pt>
                <c:pt idx="271">
                  <c:v>44103</c:v>
                </c:pt>
                <c:pt idx="272">
                  <c:v>44104</c:v>
                </c:pt>
                <c:pt idx="273">
                  <c:v>44105</c:v>
                </c:pt>
                <c:pt idx="274">
                  <c:v>44106</c:v>
                </c:pt>
                <c:pt idx="275">
                  <c:v>44107</c:v>
                </c:pt>
                <c:pt idx="276">
                  <c:v>44108</c:v>
                </c:pt>
                <c:pt idx="277">
                  <c:v>44109</c:v>
                </c:pt>
                <c:pt idx="278">
                  <c:v>44110</c:v>
                </c:pt>
                <c:pt idx="279">
                  <c:v>44111</c:v>
                </c:pt>
                <c:pt idx="280">
                  <c:v>44112</c:v>
                </c:pt>
                <c:pt idx="281">
                  <c:v>44113</c:v>
                </c:pt>
                <c:pt idx="282">
                  <c:v>44114</c:v>
                </c:pt>
                <c:pt idx="283">
                  <c:v>44115</c:v>
                </c:pt>
                <c:pt idx="284">
                  <c:v>44116</c:v>
                </c:pt>
                <c:pt idx="285">
                  <c:v>44117</c:v>
                </c:pt>
                <c:pt idx="286">
                  <c:v>44118</c:v>
                </c:pt>
                <c:pt idx="287">
                  <c:v>44119</c:v>
                </c:pt>
                <c:pt idx="288">
                  <c:v>44120</c:v>
                </c:pt>
                <c:pt idx="289">
                  <c:v>44121</c:v>
                </c:pt>
                <c:pt idx="290">
                  <c:v>44122</c:v>
                </c:pt>
                <c:pt idx="291">
                  <c:v>44123</c:v>
                </c:pt>
                <c:pt idx="292">
                  <c:v>44124</c:v>
                </c:pt>
                <c:pt idx="293">
                  <c:v>44125</c:v>
                </c:pt>
                <c:pt idx="294">
                  <c:v>44126</c:v>
                </c:pt>
                <c:pt idx="295">
                  <c:v>44127</c:v>
                </c:pt>
                <c:pt idx="296">
                  <c:v>44128</c:v>
                </c:pt>
                <c:pt idx="297">
                  <c:v>44129</c:v>
                </c:pt>
                <c:pt idx="298">
                  <c:v>44130</c:v>
                </c:pt>
                <c:pt idx="299">
                  <c:v>44131</c:v>
                </c:pt>
                <c:pt idx="300">
                  <c:v>44132</c:v>
                </c:pt>
                <c:pt idx="301">
                  <c:v>44133</c:v>
                </c:pt>
                <c:pt idx="302">
                  <c:v>44134</c:v>
                </c:pt>
                <c:pt idx="303">
                  <c:v>44135</c:v>
                </c:pt>
              </c:numCache>
            </c:numRef>
          </c:cat>
          <c:val>
            <c:numRef>
              <c:f>FlightTrack!$B$4:$B$307</c:f>
              <c:numCache>
                <c:formatCode>0.00</c:formatCode>
                <c:ptCount val="304"/>
                <c:pt idx="0">
                  <c:v>68909</c:v>
                </c:pt>
                <c:pt idx="1">
                  <c:v>69069</c:v>
                </c:pt>
                <c:pt idx="2">
                  <c:v>69390</c:v>
                </c:pt>
                <c:pt idx="3">
                  <c:v>69661</c:v>
                </c:pt>
                <c:pt idx="4">
                  <c:v>69282</c:v>
                </c:pt>
                <c:pt idx="5">
                  <c:v>68228</c:v>
                </c:pt>
                <c:pt idx="6">
                  <c:v>68545</c:v>
                </c:pt>
                <c:pt idx="7">
                  <c:v>70684</c:v>
                </c:pt>
                <c:pt idx="8">
                  <c:v>70113</c:v>
                </c:pt>
                <c:pt idx="9">
                  <c:v>68777</c:v>
                </c:pt>
                <c:pt idx="10">
                  <c:v>67768</c:v>
                </c:pt>
                <c:pt idx="11">
                  <c:v>67049</c:v>
                </c:pt>
                <c:pt idx="12">
                  <c:v>66773</c:v>
                </c:pt>
                <c:pt idx="13">
                  <c:v>66752</c:v>
                </c:pt>
                <c:pt idx="14">
                  <c:v>66700</c:v>
                </c:pt>
                <c:pt idx="15">
                  <c:v>66405</c:v>
                </c:pt>
                <c:pt idx="16">
                  <c:v>65930</c:v>
                </c:pt>
                <c:pt idx="17">
                  <c:v>65669</c:v>
                </c:pt>
                <c:pt idx="18">
                  <c:v>65366</c:v>
                </c:pt>
                <c:pt idx="19">
                  <c:v>65070</c:v>
                </c:pt>
                <c:pt idx="20">
                  <c:v>64695</c:v>
                </c:pt>
                <c:pt idx="21">
                  <c:v>64362</c:v>
                </c:pt>
                <c:pt idx="22">
                  <c:v>63774</c:v>
                </c:pt>
                <c:pt idx="23">
                  <c:v>63257</c:v>
                </c:pt>
                <c:pt idx="24">
                  <c:v>62728</c:v>
                </c:pt>
                <c:pt idx="25">
                  <c:v>62243</c:v>
                </c:pt>
                <c:pt idx="26">
                  <c:v>62042</c:v>
                </c:pt>
                <c:pt idx="27">
                  <c:v>61684</c:v>
                </c:pt>
                <c:pt idx="28">
                  <c:v>61373</c:v>
                </c:pt>
                <c:pt idx="29">
                  <c:v>61281</c:v>
                </c:pt>
                <c:pt idx="30">
                  <c:v>61047</c:v>
                </c:pt>
                <c:pt idx="31">
                  <c:v>60576</c:v>
                </c:pt>
                <c:pt idx="32">
                  <c:v>60294</c:v>
                </c:pt>
                <c:pt idx="33">
                  <c:v>60143</c:v>
                </c:pt>
                <c:pt idx="34">
                  <c:v>60165</c:v>
                </c:pt>
                <c:pt idx="35">
                  <c:v>60362</c:v>
                </c:pt>
                <c:pt idx="36">
                  <c:v>60598</c:v>
                </c:pt>
                <c:pt idx="37">
                  <c:v>60681</c:v>
                </c:pt>
                <c:pt idx="38">
                  <c:v>61273</c:v>
                </c:pt>
                <c:pt idx="39">
                  <c:v>61689</c:v>
                </c:pt>
                <c:pt idx="40">
                  <c:v>61808</c:v>
                </c:pt>
                <c:pt idx="41">
                  <c:v>61371</c:v>
                </c:pt>
                <c:pt idx="42">
                  <c:v>60710</c:v>
                </c:pt>
                <c:pt idx="43">
                  <c:v>60068</c:v>
                </c:pt>
                <c:pt idx="44">
                  <c:v>59486</c:v>
                </c:pt>
                <c:pt idx="45">
                  <c:v>58712</c:v>
                </c:pt>
                <c:pt idx="46">
                  <c:v>58336</c:v>
                </c:pt>
                <c:pt idx="47">
                  <c:v>58457</c:v>
                </c:pt>
                <c:pt idx="48">
                  <c:v>58871</c:v>
                </c:pt>
                <c:pt idx="49">
                  <c:v>59714</c:v>
                </c:pt>
                <c:pt idx="50">
                  <c:v>61046</c:v>
                </c:pt>
                <c:pt idx="51">
                  <c:v>62577</c:v>
                </c:pt>
                <c:pt idx="52">
                  <c:v>64040</c:v>
                </c:pt>
                <c:pt idx="53">
                  <c:v>65251</c:v>
                </c:pt>
                <c:pt idx="54">
                  <c:v>65808</c:v>
                </c:pt>
                <c:pt idx="55">
                  <c:v>66939</c:v>
                </c:pt>
                <c:pt idx="56">
                  <c:v>67702</c:v>
                </c:pt>
                <c:pt idx="57">
                  <c:v>67866</c:v>
                </c:pt>
                <c:pt idx="58">
                  <c:v>68112</c:v>
                </c:pt>
                <c:pt idx="59">
                  <c:v>68679</c:v>
                </c:pt>
                <c:pt idx="60">
                  <c:v>69072</c:v>
                </c:pt>
                <c:pt idx="61">
                  <c:v>69549</c:v>
                </c:pt>
                <c:pt idx="62">
                  <c:v>69928</c:v>
                </c:pt>
                <c:pt idx="63">
                  <c:v>70474</c:v>
                </c:pt>
                <c:pt idx="64">
                  <c:v>70951</c:v>
                </c:pt>
                <c:pt idx="65">
                  <c:v>71319</c:v>
                </c:pt>
                <c:pt idx="66">
                  <c:v>71632</c:v>
                </c:pt>
                <c:pt idx="67">
                  <c:v>71981</c:v>
                </c:pt>
                <c:pt idx="68">
                  <c:v>72230</c:v>
                </c:pt>
                <c:pt idx="69">
                  <c:v>72336</c:v>
                </c:pt>
                <c:pt idx="70">
                  <c:v>72636</c:v>
                </c:pt>
                <c:pt idx="71">
                  <c:v>72918</c:v>
                </c:pt>
                <c:pt idx="72">
                  <c:v>73161</c:v>
                </c:pt>
                <c:pt idx="73">
                  <c:v>73028</c:v>
                </c:pt>
                <c:pt idx="74">
                  <c:v>73250</c:v>
                </c:pt>
                <c:pt idx="75">
                  <c:v>73555</c:v>
                </c:pt>
                <c:pt idx="76">
                  <c:v>73794</c:v>
                </c:pt>
                <c:pt idx="77">
                  <c:v>74007</c:v>
                </c:pt>
                <c:pt idx="78">
                  <c:v>74275</c:v>
                </c:pt>
                <c:pt idx="79">
                  <c:v>74672</c:v>
                </c:pt>
                <c:pt idx="80">
                  <c:v>75168</c:v>
                </c:pt>
                <c:pt idx="81">
                  <c:v>75391</c:v>
                </c:pt>
                <c:pt idx="82">
                  <c:v>75702</c:v>
                </c:pt>
                <c:pt idx="83">
                  <c:v>76095</c:v>
                </c:pt>
                <c:pt idx="84">
                  <c:v>76207</c:v>
                </c:pt>
                <c:pt idx="85">
                  <c:v>76472</c:v>
                </c:pt>
                <c:pt idx="86">
                  <c:v>76660</c:v>
                </c:pt>
                <c:pt idx="87">
                  <c:v>76925</c:v>
                </c:pt>
                <c:pt idx="88">
                  <c:v>77304</c:v>
                </c:pt>
                <c:pt idx="89">
                  <c:v>77712</c:v>
                </c:pt>
                <c:pt idx="90">
                  <c:v>78173</c:v>
                </c:pt>
                <c:pt idx="91">
                  <c:v>78087</c:v>
                </c:pt>
                <c:pt idx="92">
                  <c:v>78130</c:v>
                </c:pt>
                <c:pt idx="93">
                  <c:v>77864</c:v>
                </c:pt>
                <c:pt idx="94">
                  <c:v>78163</c:v>
                </c:pt>
                <c:pt idx="95">
                  <c:v>78445</c:v>
                </c:pt>
                <c:pt idx="96">
                  <c:v>78504</c:v>
                </c:pt>
                <c:pt idx="97">
                  <c:v>78425</c:v>
                </c:pt>
                <c:pt idx="98">
                  <c:v>78796</c:v>
                </c:pt>
                <c:pt idx="99">
                  <c:v>78932</c:v>
                </c:pt>
                <c:pt idx="100">
                  <c:v>79368</c:v>
                </c:pt>
                <c:pt idx="101">
                  <c:v>79360</c:v>
                </c:pt>
                <c:pt idx="102">
                  <c:v>79341</c:v>
                </c:pt>
                <c:pt idx="103">
                  <c:v>79045</c:v>
                </c:pt>
                <c:pt idx="104">
                  <c:v>78681</c:v>
                </c:pt>
                <c:pt idx="105">
                  <c:v>78321</c:v>
                </c:pt>
                <c:pt idx="106">
                  <c:v>77938</c:v>
                </c:pt>
                <c:pt idx="107">
                  <c:v>77735</c:v>
                </c:pt>
                <c:pt idx="108">
                  <c:v>77294</c:v>
                </c:pt>
                <c:pt idx="109">
                  <c:v>76652</c:v>
                </c:pt>
                <c:pt idx="110">
                  <c:v>76296</c:v>
                </c:pt>
                <c:pt idx="111">
                  <c:v>76534</c:v>
                </c:pt>
                <c:pt idx="112">
                  <c:v>76446</c:v>
                </c:pt>
                <c:pt idx="113">
                  <c:v>76416</c:v>
                </c:pt>
                <c:pt idx="114">
                  <c:v>76306</c:v>
                </c:pt>
                <c:pt idx="115">
                  <c:v>76483</c:v>
                </c:pt>
                <c:pt idx="116">
                  <c:v>76749</c:v>
                </c:pt>
                <c:pt idx="117">
                  <c:v>77120</c:v>
                </c:pt>
                <c:pt idx="118">
                  <c:v>77317</c:v>
                </c:pt>
                <c:pt idx="119">
                  <c:v>77796</c:v>
                </c:pt>
                <c:pt idx="120">
                  <c:v>78207</c:v>
                </c:pt>
                <c:pt idx="121">
                  <c:v>78291</c:v>
                </c:pt>
                <c:pt idx="122">
                  <c:v>78088</c:v>
                </c:pt>
                <c:pt idx="123">
                  <c:v>78029</c:v>
                </c:pt>
                <c:pt idx="124">
                  <c:v>78169</c:v>
                </c:pt>
                <c:pt idx="125">
                  <c:v>77836</c:v>
                </c:pt>
                <c:pt idx="126">
                  <c:v>77673</c:v>
                </c:pt>
                <c:pt idx="127">
                  <c:v>77374</c:v>
                </c:pt>
                <c:pt idx="128">
                  <c:v>77205</c:v>
                </c:pt>
                <c:pt idx="129">
                  <c:v>77257</c:v>
                </c:pt>
                <c:pt idx="130">
                  <c:v>77114</c:v>
                </c:pt>
                <c:pt idx="131">
                  <c:v>76922</c:v>
                </c:pt>
                <c:pt idx="132">
                  <c:v>76563</c:v>
                </c:pt>
                <c:pt idx="133">
                  <c:v>76090</c:v>
                </c:pt>
                <c:pt idx="134">
                  <c:v>75720</c:v>
                </c:pt>
                <c:pt idx="135">
                  <c:v>75709</c:v>
                </c:pt>
                <c:pt idx="136">
                  <c:v>75723</c:v>
                </c:pt>
                <c:pt idx="137">
                  <c:v>75930</c:v>
                </c:pt>
                <c:pt idx="138">
                  <c:v>75867</c:v>
                </c:pt>
                <c:pt idx="139">
                  <c:v>76382</c:v>
                </c:pt>
                <c:pt idx="140">
                  <c:v>76859</c:v>
                </c:pt>
                <c:pt idx="141">
                  <c:v>77273</c:v>
                </c:pt>
                <c:pt idx="142">
                  <c:v>77555</c:v>
                </c:pt>
                <c:pt idx="143">
                  <c:v>77801</c:v>
                </c:pt>
                <c:pt idx="144">
                  <c:v>78043</c:v>
                </c:pt>
                <c:pt idx="145">
                  <c:v>78316</c:v>
                </c:pt>
                <c:pt idx="146">
                  <c:v>78569</c:v>
                </c:pt>
                <c:pt idx="147">
                  <c:v>78866</c:v>
                </c:pt>
                <c:pt idx="148">
                  <c:v>78960</c:v>
                </c:pt>
                <c:pt idx="149">
                  <c:v>78811</c:v>
                </c:pt>
                <c:pt idx="150">
                  <c:v>78638</c:v>
                </c:pt>
                <c:pt idx="151">
                  <c:v>78803</c:v>
                </c:pt>
                <c:pt idx="152">
                  <c:v>79226</c:v>
                </c:pt>
                <c:pt idx="153">
                  <c:v>79402</c:v>
                </c:pt>
                <c:pt idx="154">
                  <c:v>79631</c:v>
                </c:pt>
                <c:pt idx="155">
                  <c:v>80229</c:v>
                </c:pt>
                <c:pt idx="156">
                  <c:v>81069</c:v>
                </c:pt>
                <c:pt idx="157">
                  <c:v>81768</c:v>
                </c:pt>
                <c:pt idx="158">
                  <c:v>82113</c:v>
                </c:pt>
                <c:pt idx="159">
                  <c:v>82438</c:v>
                </c:pt>
                <c:pt idx="160">
                  <c:v>82905</c:v>
                </c:pt>
                <c:pt idx="161">
                  <c:v>83374</c:v>
                </c:pt>
                <c:pt idx="162">
                  <c:v>83596</c:v>
                </c:pt>
                <c:pt idx="163">
                  <c:v>83640</c:v>
                </c:pt>
                <c:pt idx="164">
                  <c:v>84074</c:v>
                </c:pt>
                <c:pt idx="165">
                  <c:v>84552</c:v>
                </c:pt>
                <c:pt idx="166">
                  <c:v>85018</c:v>
                </c:pt>
                <c:pt idx="167">
                  <c:v>85341</c:v>
                </c:pt>
                <c:pt idx="168">
                  <c:v>85597</c:v>
                </c:pt>
                <c:pt idx="169">
                  <c:v>85952</c:v>
                </c:pt>
                <c:pt idx="170">
                  <c:v>86397</c:v>
                </c:pt>
                <c:pt idx="171">
                  <c:v>86490</c:v>
                </c:pt>
                <c:pt idx="172">
                  <c:v>86698</c:v>
                </c:pt>
                <c:pt idx="173">
                  <c:v>86806</c:v>
                </c:pt>
                <c:pt idx="174">
                  <c:v>86823</c:v>
                </c:pt>
                <c:pt idx="175">
                  <c:v>86990</c:v>
                </c:pt>
                <c:pt idx="176">
                  <c:v>87119</c:v>
                </c:pt>
                <c:pt idx="177">
                  <c:v>87416</c:v>
                </c:pt>
                <c:pt idx="178">
                  <c:v>87910</c:v>
                </c:pt>
                <c:pt idx="179">
                  <c:v>88059</c:v>
                </c:pt>
                <c:pt idx="180">
                  <c:v>88250</c:v>
                </c:pt>
                <c:pt idx="181">
                  <c:v>88685</c:v>
                </c:pt>
                <c:pt idx="182">
                  <c:v>89153</c:v>
                </c:pt>
                <c:pt idx="183">
                  <c:v>89881</c:v>
                </c:pt>
                <c:pt idx="184">
                  <c:v>89916</c:v>
                </c:pt>
                <c:pt idx="185">
                  <c:v>89794</c:v>
                </c:pt>
                <c:pt idx="186">
                  <c:v>90094</c:v>
                </c:pt>
                <c:pt idx="187">
                  <c:v>90542</c:v>
                </c:pt>
                <c:pt idx="188">
                  <c:v>90858</c:v>
                </c:pt>
                <c:pt idx="189">
                  <c:v>91195</c:v>
                </c:pt>
                <c:pt idx="190">
                  <c:v>91670</c:v>
                </c:pt>
                <c:pt idx="191">
                  <c:v>92360</c:v>
                </c:pt>
                <c:pt idx="192">
                  <c:v>93039</c:v>
                </c:pt>
                <c:pt idx="193">
                  <c:v>93577</c:v>
                </c:pt>
                <c:pt idx="194">
                  <c:v>93874</c:v>
                </c:pt>
                <c:pt idx="195">
                  <c:v>94325</c:v>
                </c:pt>
                <c:pt idx="196">
                  <c:v>94516</c:v>
                </c:pt>
                <c:pt idx="197">
                  <c:v>94591</c:v>
                </c:pt>
                <c:pt idx="198">
                  <c:v>94940</c:v>
                </c:pt>
                <c:pt idx="199">
                  <c:v>95233</c:v>
                </c:pt>
                <c:pt idx="200">
                  <c:v>95196</c:v>
                </c:pt>
                <c:pt idx="201">
                  <c:v>95076</c:v>
                </c:pt>
                <c:pt idx="202">
                  <c:v>95203</c:v>
                </c:pt>
                <c:pt idx="203">
                  <c:v>95246</c:v>
                </c:pt>
                <c:pt idx="204">
                  <c:v>95118</c:v>
                </c:pt>
                <c:pt idx="205">
                  <c:v>94507</c:v>
                </c:pt>
                <c:pt idx="206">
                  <c:v>94068</c:v>
                </c:pt>
                <c:pt idx="207">
                  <c:v>94338</c:v>
                </c:pt>
                <c:pt idx="208">
                  <c:v>94601</c:v>
                </c:pt>
                <c:pt idx="209">
                  <c:v>94369</c:v>
                </c:pt>
                <c:pt idx="210">
                  <c:v>94294</c:v>
                </c:pt>
                <c:pt idx="211">
                  <c:v>94443</c:v>
                </c:pt>
                <c:pt idx="212">
                  <c:v>94918</c:v>
                </c:pt>
                <c:pt idx="213">
                  <c:v>94988</c:v>
                </c:pt>
                <c:pt idx="214">
                  <c:v>94346</c:v>
                </c:pt>
                <c:pt idx="215">
                  <c:v>93761</c:v>
                </c:pt>
                <c:pt idx="216">
                  <c:v>93060</c:v>
                </c:pt>
                <c:pt idx="217">
                  <c:v>92329</c:v>
                </c:pt>
                <c:pt idx="218">
                  <c:v>91555</c:v>
                </c:pt>
                <c:pt idx="219">
                  <c:v>90911</c:v>
                </c:pt>
                <c:pt idx="220">
                  <c:v>90352</c:v>
                </c:pt>
                <c:pt idx="221">
                  <c:v>90059</c:v>
                </c:pt>
                <c:pt idx="222">
                  <c:v>89724</c:v>
                </c:pt>
                <c:pt idx="223">
                  <c:v>89575</c:v>
                </c:pt>
                <c:pt idx="224">
                  <c:v>89521</c:v>
                </c:pt>
                <c:pt idx="225">
                  <c:v>89429</c:v>
                </c:pt>
                <c:pt idx="226">
                  <c:v>89429</c:v>
                </c:pt>
                <c:pt idx="227">
                  <c:v>89575</c:v>
                </c:pt>
                <c:pt idx="228">
                  <c:v>89398</c:v>
                </c:pt>
                <c:pt idx="229">
                  <c:v>89174</c:v>
                </c:pt>
                <c:pt idx="230">
                  <c:v>89041</c:v>
                </c:pt>
                <c:pt idx="231">
                  <c:v>89045</c:v>
                </c:pt>
                <c:pt idx="232">
                  <c:v>88967</c:v>
                </c:pt>
                <c:pt idx="233">
                  <c:v>88656</c:v>
                </c:pt>
                <c:pt idx="234">
                  <c:v>88605</c:v>
                </c:pt>
                <c:pt idx="235">
                  <c:v>88739</c:v>
                </c:pt>
                <c:pt idx="236">
                  <c:v>89123</c:v>
                </c:pt>
                <c:pt idx="237">
                  <c:v>89605</c:v>
                </c:pt>
                <c:pt idx="238">
                  <c:v>89941</c:v>
                </c:pt>
                <c:pt idx="239">
                  <c:v>90344</c:v>
                </c:pt>
                <c:pt idx="240">
                  <c:v>90820</c:v>
                </c:pt>
                <c:pt idx="241">
                  <c:v>91115</c:v>
                </c:pt>
                <c:pt idx="242">
                  <c:v>91538</c:v>
                </c:pt>
                <c:pt idx="243">
                  <c:v>91807</c:v>
                </c:pt>
                <c:pt idx="244">
                  <c:v>92093</c:v>
                </c:pt>
                <c:pt idx="245">
                  <c:v>92574</c:v>
                </c:pt>
                <c:pt idx="246">
                  <c:v>92806</c:v>
                </c:pt>
                <c:pt idx="247">
                  <c:v>92762</c:v>
                </c:pt>
                <c:pt idx="248">
                  <c:v>92592</c:v>
                </c:pt>
                <c:pt idx="249">
                  <c:v>92319</c:v>
                </c:pt>
                <c:pt idx="250">
                  <c:v>92564</c:v>
                </c:pt>
                <c:pt idx="251">
                  <c:v>92726</c:v>
                </c:pt>
                <c:pt idx="252">
                  <c:v>92929</c:v>
                </c:pt>
                <c:pt idx="253">
                  <c:v>92973</c:v>
                </c:pt>
                <c:pt idx="254">
                  <c:v>93470</c:v>
                </c:pt>
                <c:pt idx="255">
                  <c:v>93741</c:v>
                </c:pt>
                <c:pt idx="256">
                  <c:v>93953</c:v>
                </c:pt>
                <c:pt idx="257">
                  <c:v>93959</c:v>
                </c:pt>
                <c:pt idx="258">
                  <c:v>93958</c:v>
                </c:pt>
                <c:pt idx="259">
                  <c:v>93924</c:v>
                </c:pt>
                <c:pt idx="260">
                  <c:v>94046</c:v>
                </c:pt>
                <c:pt idx="261">
                  <c:v>94018</c:v>
                </c:pt>
                <c:pt idx="262">
                  <c:v>94097</c:v>
                </c:pt>
                <c:pt idx="263">
                  <c:v>94198</c:v>
                </c:pt>
                <c:pt idx="264">
                  <c:v>94235</c:v>
                </c:pt>
                <c:pt idx="265">
                  <c:v>94244</c:v>
                </c:pt>
                <c:pt idx="266">
                  <c:v>94118</c:v>
                </c:pt>
                <c:pt idx="267">
                  <c:v>93989</c:v>
                </c:pt>
                <c:pt idx="268">
                  <c:v>94137</c:v>
                </c:pt>
                <c:pt idx="269">
                  <c:v>94559</c:v>
                </c:pt>
                <c:pt idx="270">
                  <c:v>94846</c:v>
                </c:pt>
                <c:pt idx="271">
                  <c:v>95105</c:v>
                </c:pt>
                <c:pt idx="272">
                  <c:v>95499</c:v>
                </c:pt>
                <c:pt idx="273">
                  <c:v>95738</c:v>
                </c:pt>
                <c:pt idx="274">
                  <c:v>95526</c:v>
                </c:pt>
                <c:pt idx="275">
                  <c:v>95153</c:v>
                </c:pt>
                <c:pt idx="276">
                  <c:v>94909</c:v>
                </c:pt>
                <c:pt idx="277">
                  <c:v>94860</c:v>
                </c:pt>
                <c:pt idx="278">
                  <c:v>94754</c:v>
                </c:pt>
                <c:pt idx="279">
                  <c:v>94716</c:v>
                </c:pt>
                <c:pt idx="280">
                  <c:v>94433</c:v>
                </c:pt>
                <c:pt idx="281">
                  <c:v>94550</c:v>
                </c:pt>
                <c:pt idx="282">
                  <c:v>94742</c:v>
                </c:pt>
                <c:pt idx="283">
                  <c:v>94747</c:v>
                </c:pt>
                <c:pt idx="284">
                  <c:v>94715</c:v>
                </c:pt>
                <c:pt idx="285">
                  <c:v>94515</c:v>
                </c:pt>
                <c:pt idx="286">
                  <c:v>94451</c:v>
                </c:pt>
                <c:pt idx="287">
                  <c:v>94839</c:v>
                </c:pt>
                <c:pt idx="288">
                  <c:v>95155</c:v>
                </c:pt>
                <c:pt idx="289">
                  <c:v>95603</c:v>
                </c:pt>
                <c:pt idx="290">
                  <c:v>96144</c:v>
                </c:pt>
                <c:pt idx="291">
                  <c:v>96364</c:v>
                </c:pt>
                <c:pt idx="292">
                  <c:v>96680</c:v>
                </c:pt>
                <c:pt idx="293">
                  <c:v>96588</c:v>
                </c:pt>
                <c:pt idx="294">
                  <c:v>96444</c:v>
                </c:pt>
                <c:pt idx="295">
                  <c:v>96396</c:v>
                </c:pt>
                <c:pt idx="296">
                  <c:v>96144</c:v>
                </c:pt>
                <c:pt idx="297">
                  <c:v>95797</c:v>
                </c:pt>
                <c:pt idx="298">
                  <c:v>95656</c:v>
                </c:pt>
                <c:pt idx="299">
                  <c:v>95312</c:v>
                </c:pt>
                <c:pt idx="300">
                  <c:v>94952</c:v>
                </c:pt>
                <c:pt idx="301">
                  <c:v>94618</c:v>
                </c:pt>
                <c:pt idx="302">
                  <c:v>94108</c:v>
                </c:pt>
                <c:pt idx="303">
                  <c:v>93462</c:v>
                </c:pt>
              </c:numCache>
            </c:numRef>
          </c:val>
          <c:smooth val="0"/>
          <c:extLst>
            <c:ext xmlns:c16="http://schemas.microsoft.com/office/drawing/2014/chart" uri="{C3380CC4-5D6E-409C-BE32-E72D297353CC}">
              <c16:uniqueId val="{00000000-7B4D-461F-89A0-59B01E9201BC}"/>
            </c:ext>
          </c:extLst>
        </c:ser>
        <c:ser>
          <c:idx val="7"/>
          <c:order val="7"/>
          <c:tx>
            <c:strRef>
              <c:f>FlightTrack!$D$3</c:f>
              <c:strCache>
                <c:ptCount val="1"/>
                <c:pt idx="0">
                  <c:v>2019 7-day moving average</c:v>
                </c:pt>
              </c:strCache>
            </c:strRef>
          </c:tx>
          <c:spPr>
            <a:ln w="28575" cap="rnd">
              <a:solidFill>
                <a:schemeClr val="accent2"/>
              </a:solidFill>
              <a:round/>
            </a:ln>
            <a:effectLst/>
          </c:spPr>
          <c:marker>
            <c:symbol val="none"/>
          </c:marker>
          <c:cat>
            <c:numRef>
              <c:f>FlightTrack!$A$4:$A$307</c:f>
              <c:numCache>
                <c:formatCode>[$-40C]d\-mmm;@</c:formatCode>
                <c:ptCount val="304"/>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1</c:v>
                </c:pt>
                <c:pt idx="60">
                  <c:v>43892</c:v>
                </c:pt>
                <c:pt idx="61">
                  <c:v>43893</c:v>
                </c:pt>
                <c:pt idx="62">
                  <c:v>43894</c:v>
                </c:pt>
                <c:pt idx="63">
                  <c:v>43895</c:v>
                </c:pt>
                <c:pt idx="64">
                  <c:v>43896</c:v>
                </c:pt>
                <c:pt idx="65">
                  <c:v>43897</c:v>
                </c:pt>
                <c:pt idx="66">
                  <c:v>43898</c:v>
                </c:pt>
                <c:pt idx="67">
                  <c:v>43899</c:v>
                </c:pt>
                <c:pt idx="68">
                  <c:v>43900</c:v>
                </c:pt>
                <c:pt idx="69">
                  <c:v>43901</c:v>
                </c:pt>
                <c:pt idx="70">
                  <c:v>43902</c:v>
                </c:pt>
                <c:pt idx="71">
                  <c:v>43903</c:v>
                </c:pt>
                <c:pt idx="72">
                  <c:v>43904</c:v>
                </c:pt>
                <c:pt idx="73">
                  <c:v>43905</c:v>
                </c:pt>
                <c:pt idx="74">
                  <c:v>43906</c:v>
                </c:pt>
                <c:pt idx="75">
                  <c:v>43907</c:v>
                </c:pt>
                <c:pt idx="76">
                  <c:v>43908</c:v>
                </c:pt>
                <c:pt idx="77">
                  <c:v>43909</c:v>
                </c:pt>
                <c:pt idx="78">
                  <c:v>43910</c:v>
                </c:pt>
                <c:pt idx="79">
                  <c:v>43911</c:v>
                </c:pt>
                <c:pt idx="80">
                  <c:v>43912</c:v>
                </c:pt>
                <c:pt idx="81">
                  <c:v>43913</c:v>
                </c:pt>
                <c:pt idx="82">
                  <c:v>43914</c:v>
                </c:pt>
                <c:pt idx="83">
                  <c:v>43915</c:v>
                </c:pt>
                <c:pt idx="84">
                  <c:v>43916</c:v>
                </c:pt>
                <c:pt idx="85">
                  <c:v>43917</c:v>
                </c:pt>
                <c:pt idx="86">
                  <c:v>43918</c:v>
                </c:pt>
                <c:pt idx="87">
                  <c:v>43919</c:v>
                </c:pt>
                <c:pt idx="88">
                  <c:v>43920</c:v>
                </c:pt>
                <c:pt idx="89">
                  <c:v>43921</c:v>
                </c:pt>
                <c:pt idx="90">
                  <c:v>43922</c:v>
                </c:pt>
                <c:pt idx="91">
                  <c:v>43923</c:v>
                </c:pt>
                <c:pt idx="92">
                  <c:v>43924</c:v>
                </c:pt>
                <c:pt idx="93">
                  <c:v>43925</c:v>
                </c:pt>
                <c:pt idx="94">
                  <c:v>43926</c:v>
                </c:pt>
                <c:pt idx="95">
                  <c:v>43927</c:v>
                </c:pt>
                <c:pt idx="96">
                  <c:v>43928</c:v>
                </c:pt>
                <c:pt idx="97">
                  <c:v>43929</c:v>
                </c:pt>
                <c:pt idx="98">
                  <c:v>43930</c:v>
                </c:pt>
                <c:pt idx="99">
                  <c:v>43931</c:v>
                </c:pt>
                <c:pt idx="100">
                  <c:v>43932</c:v>
                </c:pt>
                <c:pt idx="101">
                  <c:v>43933</c:v>
                </c:pt>
                <c:pt idx="102">
                  <c:v>43934</c:v>
                </c:pt>
                <c:pt idx="103">
                  <c:v>43935</c:v>
                </c:pt>
                <c:pt idx="104">
                  <c:v>43936</c:v>
                </c:pt>
                <c:pt idx="105">
                  <c:v>43937</c:v>
                </c:pt>
                <c:pt idx="106">
                  <c:v>43938</c:v>
                </c:pt>
                <c:pt idx="107">
                  <c:v>43939</c:v>
                </c:pt>
                <c:pt idx="108">
                  <c:v>43940</c:v>
                </c:pt>
                <c:pt idx="109">
                  <c:v>43941</c:v>
                </c:pt>
                <c:pt idx="110">
                  <c:v>43942</c:v>
                </c:pt>
                <c:pt idx="111">
                  <c:v>43943</c:v>
                </c:pt>
                <c:pt idx="112">
                  <c:v>43944</c:v>
                </c:pt>
                <c:pt idx="113">
                  <c:v>43945</c:v>
                </c:pt>
                <c:pt idx="114">
                  <c:v>43946</c:v>
                </c:pt>
                <c:pt idx="115">
                  <c:v>43947</c:v>
                </c:pt>
                <c:pt idx="116">
                  <c:v>43948</c:v>
                </c:pt>
                <c:pt idx="117">
                  <c:v>43949</c:v>
                </c:pt>
                <c:pt idx="118">
                  <c:v>43950</c:v>
                </c:pt>
                <c:pt idx="119">
                  <c:v>43951</c:v>
                </c:pt>
                <c:pt idx="120">
                  <c:v>43952</c:v>
                </c:pt>
                <c:pt idx="121">
                  <c:v>43953</c:v>
                </c:pt>
                <c:pt idx="122">
                  <c:v>43954</c:v>
                </c:pt>
                <c:pt idx="123">
                  <c:v>43955</c:v>
                </c:pt>
                <c:pt idx="124">
                  <c:v>43956</c:v>
                </c:pt>
                <c:pt idx="125">
                  <c:v>43957</c:v>
                </c:pt>
                <c:pt idx="126">
                  <c:v>43958</c:v>
                </c:pt>
                <c:pt idx="127">
                  <c:v>43959</c:v>
                </c:pt>
                <c:pt idx="128">
                  <c:v>43960</c:v>
                </c:pt>
                <c:pt idx="129">
                  <c:v>43961</c:v>
                </c:pt>
                <c:pt idx="130">
                  <c:v>43962</c:v>
                </c:pt>
                <c:pt idx="131">
                  <c:v>43963</c:v>
                </c:pt>
                <c:pt idx="132">
                  <c:v>43964</c:v>
                </c:pt>
                <c:pt idx="133">
                  <c:v>43965</c:v>
                </c:pt>
                <c:pt idx="134">
                  <c:v>43966</c:v>
                </c:pt>
                <c:pt idx="135">
                  <c:v>43967</c:v>
                </c:pt>
                <c:pt idx="136">
                  <c:v>43968</c:v>
                </c:pt>
                <c:pt idx="137">
                  <c:v>43969</c:v>
                </c:pt>
                <c:pt idx="138">
                  <c:v>43970</c:v>
                </c:pt>
                <c:pt idx="139">
                  <c:v>43971</c:v>
                </c:pt>
                <c:pt idx="140">
                  <c:v>43972</c:v>
                </c:pt>
                <c:pt idx="141">
                  <c:v>43973</c:v>
                </c:pt>
                <c:pt idx="142">
                  <c:v>43974</c:v>
                </c:pt>
                <c:pt idx="143">
                  <c:v>43975</c:v>
                </c:pt>
                <c:pt idx="144">
                  <c:v>43976</c:v>
                </c:pt>
                <c:pt idx="145">
                  <c:v>43977</c:v>
                </c:pt>
                <c:pt idx="146">
                  <c:v>43978</c:v>
                </c:pt>
                <c:pt idx="147">
                  <c:v>43979</c:v>
                </c:pt>
                <c:pt idx="148">
                  <c:v>43980</c:v>
                </c:pt>
                <c:pt idx="149">
                  <c:v>43981</c:v>
                </c:pt>
                <c:pt idx="150">
                  <c:v>43982</c:v>
                </c:pt>
                <c:pt idx="151">
                  <c:v>43983</c:v>
                </c:pt>
                <c:pt idx="152">
                  <c:v>43984</c:v>
                </c:pt>
                <c:pt idx="153">
                  <c:v>43985</c:v>
                </c:pt>
                <c:pt idx="154">
                  <c:v>43986</c:v>
                </c:pt>
                <c:pt idx="155">
                  <c:v>43987</c:v>
                </c:pt>
                <c:pt idx="156">
                  <c:v>43988</c:v>
                </c:pt>
                <c:pt idx="157">
                  <c:v>43989</c:v>
                </c:pt>
                <c:pt idx="158">
                  <c:v>43990</c:v>
                </c:pt>
                <c:pt idx="159">
                  <c:v>43991</c:v>
                </c:pt>
                <c:pt idx="160">
                  <c:v>43992</c:v>
                </c:pt>
                <c:pt idx="161">
                  <c:v>43993</c:v>
                </c:pt>
                <c:pt idx="162">
                  <c:v>43994</c:v>
                </c:pt>
                <c:pt idx="163">
                  <c:v>43995</c:v>
                </c:pt>
                <c:pt idx="164">
                  <c:v>43996</c:v>
                </c:pt>
                <c:pt idx="165">
                  <c:v>43997</c:v>
                </c:pt>
                <c:pt idx="166">
                  <c:v>43998</c:v>
                </c:pt>
                <c:pt idx="167">
                  <c:v>43999</c:v>
                </c:pt>
                <c:pt idx="168">
                  <c:v>44000</c:v>
                </c:pt>
                <c:pt idx="169">
                  <c:v>44001</c:v>
                </c:pt>
                <c:pt idx="170">
                  <c:v>44002</c:v>
                </c:pt>
                <c:pt idx="171">
                  <c:v>44003</c:v>
                </c:pt>
                <c:pt idx="172">
                  <c:v>44004</c:v>
                </c:pt>
                <c:pt idx="173">
                  <c:v>44005</c:v>
                </c:pt>
                <c:pt idx="174">
                  <c:v>44006</c:v>
                </c:pt>
                <c:pt idx="175">
                  <c:v>44007</c:v>
                </c:pt>
                <c:pt idx="176">
                  <c:v>44008</c:v>
                </c:pt>
                <c:pt idx="177">
                  <c:v>44009</c:v>
                </c:pt>
                <c:pt idx="178">
                  <c:v>44010</c:v>
                </c:pt>
                <c:pt idx="179">
                  <c:v>44011</c:v>
                </c:pt>
                <c:pt idx="180">
                  <c:v>44012</c:v>
                </c:pt>
                <c:pt idx="181">
                  <c:v>44013</c:v>
                </c:pt>
                <c:pt idx="182">
                  <c:v>44014</c:v>
                </c:pt>
                <c:pt idx="183">
                  <c:v>44015</c:v>
                </c:pt>
                <c:pt idx="184">
                  <c:v>44016</c:v>
                </c:pt>
                <c:pt idx="185">
                  <c:v>44017</c:v>
                </c:pt>
                <c:pt idx="186">
                  <c:v>44018</c:v>
                </c:pt>
                <c:pt idx="187">
                  <c:v>44019</c:v>
                </c:pt>
                <c:pt idx="188">
                  <c:v>44020</c:v>
                </c:pt>
                <c:pt idx="189">
                  <c:v>44021</c:v>
                </c:pt>
                <c:pt idx="190">
                  <c:v>44022</c:v>
                </c:pt>
                <c:pt idx="191">
                  <c:v>44023</c:v>
                </c:pt>
                <c:pt idx="192">
                  <c:v>44024</c:v>
                </c:pt>
                <c:pt idx="193">
                  <c:v>44025</c:v>
                </c:pt>
                <c:pt idx="194">
                  <c:v>44026</c:v>
                </c:pt>
                <c:pt idx="195">
                  <c:v>44027</c:v>
                </c:pt>
                <c:pt idx="196">
                  <c:v>44028</c:v>
                </c:pt>
                <c:pt idx="197">
                  <c:v>44029</c:v>
                </c:pt>
                <c:pt idx="198">
                  <c:v>44030</c:v>
                </c:pt>
                <c:pt idx="199">
                  <c:v>44031</c:v>
                </c:pt>
                <c:pt idx="200">
                  <c:v>44032</c:v>
                </c:pt>
                <c:pt idx="201">
                  <c:v>44033</c:v>
                </c:pt>
                <c:pt idx="202">
                  <c:v>44034</c:v>
                </c:pt>
                <c:pt idx="203">
                  <c:v>44035</c:v>
                </c:pt>
                <c:pt idx="204">
                  <c:v>44036</c:v>
                </c:pt>
                <c:pt idx="205">
                  <c:v>44037</c:v>
                </c:pt>
                <c:pt idx="206">
                  <c:v>44038</c:v>
                </c:pt>
                <c:pt idx="207">
                  <c:v>44039</c:v>
                </c:pt>
                <c:pt idx="208">
                  <c:v>44040</c:v>
                </c:pt>
                <c:pt idx="209">
                  <c:v>44041</c:v>
                </c:pt>
                <c:pt idx="210">
                  <c:v>44042</c:v>
                </c:pt>
                <c:pt idx="211">
                  <c:v>44043</c:v>
                </c:pt>
                <c:pt idx="212">
                  <c:v>44044</c:v>
                </c:pt>
                <c:pt idx="213">
                  <c:v>44045</c:v>
                </c:pt>
                <c:pt idx="214">
                  <c:v>44046</c:v>
                </c:pt>
                <c:pt idx="215">
                  <c:v>44047</c:v>
                </c:pt>
                <c:pt idx="216">
                  <c:v>44048</c:v>
                </c:pt>
                <c:pt idx="217">
                  <c:v>44049</c:v>
                </c:pt>
                <c:pt idx="218">
                  <c:v>44050</c:v>
                </c:pt>
                <c:pt idx="219">
                  <c:v>44051</c:v>
                </c:pt>
                <c:pt idx="220">
                  <c:v>44052</c:v>
                </c:pt>
                <c:pt idx="221">
                  <c:v>44053</c:v>
                </c:pt>
                <c:pt idx="222">
                  <c:v>44054</c:v>
                </c:pt>
                <c:pt idx="223">
                  <c:v>44055</c:v>
                </c:pt>
                <c:pt idx="224">
                  <c:v>44056</c:v>
                </c:pt>
                <c:pt idx="225">
                  <c:v>44057</c:v>
                </c:pt>
                <c:pt idx="226">
                  <c:v>44058</c:v>
                </c:pt>
                <c:pt idx="227">
                  <c:v>44059</c:v>
                </c:pt>
                <c:pt idx="228">
                  <c:v>44060</c:v>
                </c:pt>
                <c:pt idx="229">
                  <c:v>44061</c:v>
                </c:pt>
                <c:pt idx="230">
                  <c:v>44062</c:v>
                </c:pt>
                <c:pt idx="231">
                  <c:v>44063</c:v>
                </c:pt>
                <c:pt idx="232">
                  <c:v>44064</c:v>
                </c:pt>
                <c:pt idx="233">
                  <c:v>44065</c:v>
                </c:pt>
                <c:pt idx="234">
                  <c:v>44066</c:v>
                </c:pt>
                <c:pt idx="235">
                  <c:v>44067</c:v>
                </c:pt>
                <c:pt idx="236">
                  <c:v>44068</c:v>
                </c:pt>
                <c:pt idx="237">
                  <c:v>44069</c:v>
                </c:pt>
                <c:pt idx="238">
                  <c:v>44070</c:v>
                </c:pt>
                <c:pt idx="239">
                  <c:v>44071</c:v>
                </c:pt>
                <c:pt idx="240">
                  <c:v>44072</c:v>
                </c:pt>
                <c:pt idx="241">
                  <c:v>44073</c:v>
                </c:pt>
                <c:pt idx="242">
                  <c:v>44074</c:v>
                </c:pt>
                <c:pt idx="243">
                  <c:v>44075</c:v>
                </c:pt>
                <c:pt idx="244">
                  <c:v>44076</c:v>
                </c:pt>
                <c:pt idx="245">
                  <c:v>44077</c:v>
                </c:pt>
                <c:pt idx="246">
                  <c:v>44078</c:v>
                </c:pt>
                <c:pt idx="247">
                  <c:v>44079</c:v>
                </c:pt>
                <c:pt idx="248">
                  <c:v>44080</c:v>
                </c:pt>
                <c:pt idx="249">
                  <c:v>44081</c:v>
                </c:pt>
                <c:pt idx="250">
                  <c:v>44082</c:v>
                </c:pt>
                <c:pt idx="251">
                  <c:v>44083</c:v>
                </c:pt>
                <c:pt idx="252">
                  <c:v>44084</c:v>
                </c:pt>
                <c:pt idx="253">
                  <c:v>44085</c:v>
                </c:pt>
                <c:pt idx="254">
                  <c:v>44086</c:v>
                </c:pt>
                <c:pt idx="255">
                  <c:v>44087</c:v>
                </c:pt>
                <c:pt idx="256">
                  <c:v>44088</c:v>
                </c:pt>
                <c:pt idx="257">
                  <c:v>44089</c:v>
                </c:pt>
                <c:pt idx="258">
                  <c:v>44090</c:v>
                </c:pt>
                <c:pt idx="259">
                  <c:v>44091</c:v>
                </c:pt>
                <c:pt idx="260">
                  <c:v>44092</c:v>
                </c:pt>
                <c:pt idx="261">
                  <c:v>44093</c:v>
                </c:pt>
                <c:pt idx="262">
                  <c:v>44094</c:v>
                </c:pt>
                <c:pt idx="263">
                  <c:v>44095</c:v>
                </c:pt>
                <c:pt idx="264">
                  <c:v>44096</c:v>
                </c:pt>
                <c:pt idx="265">
                  <c:v>44097</c:v>
                </c:pt>
                <c:pt idx="266">
                  <c:v>44098</c:v>
                </c:pt>
                <c:pt idx="267">
                  <c:v>44099</c:v>
                </c:pt>
                <c:pt idx="268">
                  <c:v>44100</c:v>
                </c:pt>
                <c:pt idx="269">
                  <c:v>44101</c:v>
                </c:pt>
                <c:pt idx="270">
                  <c:v>44102</c:v>
                </c:pt>
                <c:pt idx="271">
                  <c:v>44103</c:v>
                </c:pt>
                <c:pt idx="272">
                  <c:v>44104</c:v>
                </c:pt>
                <c:pt idx="273">
                  <c:v>44105</c:v>
                </c:pt>
                <c:pt idx="274">
                  <c:v>44106</c:v>
                </c:pt>
                <c:pt idx="275">
                  <c:v>44107</c:v>
                </c:pt>
                <c:pt idx="276">
                  <c:v>44108</c:v>
                </c:pt>
                <c:pt idx="277">
                  <c:v>44109</c:v>
                </c:pt>
                <c:pt idx="278">
                  <c:v>44110</c:v>
                </c:pt>
                <c:pt idx="279">
                  <c:v>44111</c:v>
                </c:pt>
                <c:pt idx="280">
                  <c:v>44112</c:v>
                </c:pt>
                <c:pt idx="281">
                  <c:v>44113</c:v>
                </c:pt>
                <c:pt idx="282">
                  <c:v>44114</c:v>
                </c:pt>
                <c:pt idx="283">
                  <c:v>44115</c:v>
                </c:pt>
                <c:pt idx="284">
                  <c:v>44116</c:v>
                </c:pt>
                <c:pt idx="285">
                  <c:v>44117</c:v>
                </c:pt>
                <c:pt idx="286">
                  <c:v>44118</c:v>
                </c:pt>
                <c:pt idx="287">
                  <c:v>44119</c:v>
                </c:pt>
                <c:pt idx="288">
                  <c:v>44120</c:v>
                </c:pt>
                <c:pt idx="289">
                  <c:v>44121</c:v>
                </c:pt>
                <c:pt idx="290">
                  <c:v>44122</c:v>
                </c:pt>
                <c:pt idx="291">
                  <c:v>44123</c:v>
                </c:pt>
                <c:pt idx="292">
                  <c:v>44124</c:v>
                </c:pt>
                <c:pt idx="293">
                  <c:v>44125</c:v>
                </c:pt>
                <c:pt idx="294">
                  <c:v>44126</c:v>
                </c:pt>
                <c:pt idx="295">
                  <c:v>44127</c:v>
                </c:pt>
                <c:pt idx="296">
                  <c:v>44128</c:v>
                </c:pt>
                <c:pt idx="297">
                  <c:v>44129</c:v>
                </c:pt>
                <c:pt idx="298">
                  <c:v>44130</c:v>
                </c:pt>
                <c:pt idx="299">
                  <c:v>44131</c:v>
                </c:pt>
                <c:pt idx="300">
                  <c:v>44132</c:v>
                </c:pt>
                <c:pt idx="301">
                  <c:v>44133</c:v>
                </c:pt>
                <c:pt idx="302">
                  <c:v>44134</c:v>
                </c:pt>
                <c:pt idx="303">
                  <c:v>44135</c:v>
                </c:pt>
              </c:numCache>
            </c:numRef>
          </c:cat>
          <c:val>
            <c:numRef>
              <c:f>FlightTrack!$D$4:$D$307</c:f>
              <c:numCache>
                <c:formatCode>0.00</c:formatCode>
                <c:ptCount val="304"/>
                <c:pt idx="0">
                  <c:v>102167</c:v>
                </c:pt>
                <c:pt idx="1">
                  <c:v>103033</c:v>
                </c:pt>
                <c:pt idx="2">
                  <c:v>103196</c:v>
                </c:pt>
                <c:pt idx="3">
                  <c:v>103128</c:v>
                </c:pt>
                <c:pt idx="4">
                  <c:v>102787</c:v>
                </c:pt>
                <c:pt idx="5">
                  <c:v>103037</c:v>
                </c:pt>
                <c:pt idx="6">
                  <c:v>105061</c:v>
                </c:pt>
                <c:pt idx="7">
                  <c:v>106999</c:v>
                </c:pt>
                <c:pt idx="8">
                  <c:v>106891</c:v>
                </c:pt>
                <c:pt idx="9">
                  <c:v>106436</c:v>
                </c:pt>
                <c:pt idx="10">
                  <c:v>106176</c:v>
                </c:pt>
                <c:pt idx="11">
                  <c:v>105396</c:v>
                </c:pt>
                <c:pt idx="12">
                  <c:v>104549</c:v>
                </c:pt>
                <c:pt idx="13">
                  <c:v>104209</c:v>
                </c:pt>
                <c:pt idx="14">
                  <c:v>104024</c:v>
                </c:pt>
                <c:pt idx="15">
                  <c:v>103896</c:v>
                </c:pt>
                <c:pt idx="16">
                  <c:v>104050</c:v>
                </c:pt>
                <c:pt idx="17">
                  <c:v>104458</c:v>
                </c:pt>
                <c:pt idx="18">
                  <c:v>104300</c:v>
                </c:pt>
                <c:pt idx="19">
                  <c:v>103992</c:v>
                </c:pt>
                <c:pt idx="20">
                  <c:v>103909</c:v>
                </c:pt>
                <c:pt idx="21">
                  <c:v>104033</c:v>
                </c:pt>
                <c:pt idx="22">
                  <c:v>103952</c:v>
                </c:pt>
                <c:pt idx="23">
                  <c:v>103973</c:v>
                </c:pt>
                <c:pt idx="24">
                  <c:v>104119</c:v>
                </c:pt>
                <c:pt idx="25">
                  <c:v>104612</c:v>
                </c:pt>
                <c:pt idx="26">
                  <c:v>105182</c:v>
                </c:pt>
                <c:pt idx="27">
                  <c:v>105050</c:v>
                </c:pt>
                <c:pt idx="28">
                  <c:v>105035</c:v>
                </c:pt>
                <c:pt idx="29">
                  <c:v>105084</c:v>
                </c:pt>
                <c:pt idx="30">
                  <c:v>105011</c:v>
                </c:pt>
                <c:pt idx="31">
                  <c:v>104960</c:v>
                </c:pt>
                <c:pt idx="32">
                  <c:v>105079</c:v>
                </c:pt>
                <c:pt idx="33">
                  <c:v>104914</c:v>
                </c:pt>
                <c:pt idx="34">
                  <c:v>104895</c:v>
                </c:pt>
                <c:pt idx="35">
                  <c:v>104867</c:v>
                </c:pt>
                <c:pt idx="36">
                  <c:v>105042</c:v>
                </c:pt>
                <c:pt idx="37">
                  <c:v>105114</c:v>
                </c:pt>
                <c:pt idx="38">
                  <c:v>105055</c:v>
                </c:pt>
                <c:pt idx="39">
                  <c:v>104956</c:v>
                </c:pt>
                <c:pt idx="40">
                  <c:v>105190</c:v>
                </c:pt>
                <c:pt idx="41">
                  <c:v>105622</c:v>
                </c:pt>
                <c:pt idx="42">
                  <c:v>105488</c:v>
                </c:pt>
                <c:pt idx="43">
                  <c:v>105297</c:v>
                </c:pt>
                <c:pt idx="44">
                  <c:v>105724</c:v>
                </c:pt>
                <c:pt idx="45">
                  <c:v>106192</c:v>
                </c:pt>
                <c:pt idx="46">
                  <c:v>106544</c:v>
                </c:pt>
                <c:pt idx="47">
                  <c:v>106606</c:v>
                </c:pt>
                <c:pt idx="48">
                  <c:v>106757</c:v>
                </c:pt>
                <c:pt idx="49">
                  <c:v>107260</c:v>
                </c:pt>
                <c:pt idx="50">
                  <c:v>107225</c:v>
                </c:pt>
                <c:pt idx="51">
                  <c:v>107084</c:v>
                </c:pt>
                <c:pt idx="52">
                  <c:v>106857</c:v>
                </c:pt>
                <c:pt idx="53">
                  <c:v>106751</c:v>
                </c:pt>
                <c:pt idx="54">
                  <c:v>106964</c:v>
                </c:pt>
                <c:pt idx="55">
                  <c:v>107007</c:v>
                </c:pt>
                <c:pt idx="56">
                  <c:v>107356</c:v>
                </c:pt>
                <c:pt idx="57">
                  <c:v>108085</c:v>
                </c:pt>
                <c:pt idx="58">
                  <c:v>108302</c:v>
                </c:pt>
                <c:pt idx="59">
                  <c:v>108395</c:v>
                </c:pt>
                <c:pt idx="60">
                  <c:v>108441</c:v>
                </c:pt>
                <c:pt idx="61">
                  <c:v>108405</c:v>
                </c:pt>
                <c:pt idx="62">
                  <c:v>108250</c:v>
                </c:pt>
                <c:pt idx="63">
                  <c:v>108180</c:v>
                </c:pt>
                <c:pt idx="64">
                  <c:v>108245</c:v>
                </c:pt>
                <c:pt idx="65">
                  <c:v>108247</c:v>
                </c:pt>
                <c:pt idx="66">
                  <c:v>108199</c:v>
                </c:pt>
                <c:pt idx="67">
                  <c:v>108183</c:v>
                </c:pt>
                <c:pt idx="68">
                  <c:v>108574</c:v>
                </c:pt>
                <c:pt idx="69">
                  <c:v>109198</c:v>
                </c:pt>
                <c:pt idx="70">
                  <c:v>109203</c:v>
                </c:pt>
                <c:pt idx="71">
                  <c:v>108891</c:v>
                </c:pt>
                <c:pt idx="72">
                  <c:v>108651</c:v>
                </c:pt>
                <c:pt idx="73">
                  <c:v>108772</c:v>
                </c:pt>
                <c:pt idx="74">
                  <c:v>108940</c:v>
                </c:pt>
                <c:pt idx="75">
                  <c:v>108935</c:v>
                </c:pt>
                <c:pt idx="76">
                  <c:v>108873</c:v>
                </c:pt>
                <c:pt idx="77">
                  <c:v>108996</c:v>
                </c:pt>
                <c:pt idx="78">
                  <c:v>109463</c:v>
                </c:pt>
                <c:pt idx="79">
                  <c:v>109829</c:v>
                </c:pt>
                <c:pt idx="80">
                  <c:v>109827</c:v>
                </c:pt>
                <c:pt idx="81">
                  <c:v>109705</c:v>
                </c:pt>
                <c:pt idx="82">
                  <c:v>109705</c:v>
                </c:pt>
                <c:pt idx="83">
                  <c:v>109044</c:v>
                </c:pt>
                <c:pt idx="84">
                  <c:v>108515</c:v>
                </c:pt>
                <c:pt idx="85">
                  <c:v>108412</c:v>
                </c:pt>
                <c:pt idx="86">
                  <c:v>108493</c:v>
                </c:pt>
                <c:pt idx="87">
                  <c:v>108443</c:v>
                </c:pt>
                <c:pt idx="88">
                  <c:v>108436</c:v>
                </c:pt>
                <c:pt idx="89">
                  <c:v>108604</c:v>
                </c:pt>
                <c:pt idx="90">
                  <c:v>109471</c:v>
                </c:pt>
                <c:pt idx="91">
                  <c:v>110391</c:v>
                </c:pt>
                <c:pt idx="92">
                  <c:v>110874</c:v>
                </c:pt>
                <c:pt idx="93">
                  <c:v>111207</c:v>
                </c:pt>
                <c:pt idx="94">
                  <c:v>111453</c:v>
                </c:pt>
                <c:pt idx="95">
                  <c:v>111649</c:v>
                </c:pt>
                <c:pt idx="96">
                  <c:v>111645</c:v>
                </c:pt>
                <c:pt idx="97">
                  <c:v>111657</c:v>
                </c:pt>
                <c:pt idx="98">
                  <c:v>111711</c:v>
                </c:pt>
                <c:pt idx="99">
                  <c:v>110815</c:v>
                </c:pt>
                <c:pt idx="100">
                  <c:v>110867</c:v>
                </c:pt>
                <c:pt idx="101">
                  <c:v>111110</c:v>
                </c:pt>
                <c:pt idx="102">
                  <c:v>111487</c:v>
                </c:pt>
                <c:pt idx="103">
                  <c:v>111450</c:v>
                </c:pt>
                <c:pt idx="104">
                  <c:v>111596</c:v>
                </c:pt>
                <c:pt idx="105">
                  <c:v>111966</c:v>
                </c:pt>
                <c:pt idx="106">
                  <c:v>113177</c:v>
                </c:pt>
                <c:pt idx="107">
                  <c:v>113411</c:v>
                </c:pt>
                <c:pt idx="108">
                  <c:v>112605</c:v>
                </c:pt>
                <c:pt idx="109">
                  <c:v>112414</c:v>
                </c:pt>
                <c:pt idx="110">
                  <c:v>112364</c:v>
                </c:pt>
                <c:pt idx="111">
                  <c:v>112311</c:v>
                </c:pt>
                <c:pt idx="112">
                  <c:v>112427</c:v>
                </c:pt>
                <c:pt idx="113">
                  <c:v>112403</c:v>
                </c:pt>
                <c:pt idx="114">
                  <c:v>112508</c:v>
                </c:pt>
                <c:pt idx="115">
                  <c:v>113320</c:v>
                </c:pt>
                <c:pt idx="116">
                  <c:v>113672</c:v>
                </c:pt>
                <c:pt idx="117">
                  <c:v>114231</c:v>
                </c:pt>
                <c:pt idx="118">
                  <c:v>114498</c:v>
                </c:pt>
                <c:pt idx="119">
                  <c:v>114268</c:v>
                </c:pt>
                <c:pt idx="120">
                  <c:v>114037</c:v>
                </c:pt>
                <c:pt idx="121">
                  <c:v>113797</c:v>
                </c:pt>
                <c:pt idx="122">
                  <c:v>114062</c:v>
                </c:pt>
                <c:pt idx="123">
                  <c:v>114211</c:v>
                </c:pt>
                <c:pt idx="124">
                  <c:v>114290</c:v>
                </c:pt>
                <c:pt idx="125">
                  <c:v>114318</c:v>
                </c:pt>
                <c:pt idx="126">
                  <c:v>114439</c:v>
                </c:pt>
                <c:pt idx="127">
                  <c:v>114463</c:v>
                </c:pt>
                <c:pt idx="128">
                  <c:v>114343</c:v>
                </c:pt>
                <c:pt idx="129">
                  <c:v>114322</c:v>
                </c:pt>
                <c:pt idx="130">
                  <c:v>114083</c:v>
                </c:pt>
                <c:pt idx="131">
                  <c:v>113675</c:v>
                </c:pt>
                <c:pt idx="132">
                  <c:v>113632</c:v>
                </c:pt>
                <c:pt idx="133">
                  <c:v>113685</c:v>
                </c:pt>
                <c:pt idx="134">
                  <c:v>114107</c:v>
                </c:pt>
                <c:pt idx="135">
                  <c:v>114573</c:v>
                </c:pt>
                <c:pt idx="136">
                  <c:v>114698</c:v>
                </c:pt>
                <c:pt idx="137">
                  <c:v>114811</c:v>
                </c:pt>
                <c:pt idx="138">
                  <c:v>115121</c:v>
                </c:pt>
                <c:pt idx="139">
                  <c:v>115251</c:v>
                </c:pt>
                <c:pt idx="140">
                  <c:v>115216</c:v>
                </c:pt>
                <c:pt idx="141">
                  <c:v>115369</c:v>
                </c:pt>
                <c:pt idx="142">
                  <c:v>115480</c:v>
                </c:pt>
                <c:pt idx="143">
                  <c:v>115797</c:v>
                </c:pt>
                <c:pt idx="144">
                  <c:v>116010</c:v>
                </c:pt>
                <c:pt idx="145">
                  <c:v>115514</c:v>
                </c:pt>
                <c:pt idx="146">
                  <c:v>114936</c:v>
                </c:pt>
                <c:pt idx="147">
                  <c:v>114943</c:v>
                </c:pt>
                <c:pt idx="148">
                  <c:v>114822</c:v>
                </c:pt>
                <c:pt idx="149">
                  <c:v>114723</c:v>
                </c:pt>
                <c:pt idx="150">
                  <c:v>114710</c:v>
                </c:pt>
                <c:pt idx="151">
                  <c:v>115205</c:v>
                </c:pt>
                <c:pt idx="152">
                  <c:v>116372</c:v>
                </c:pt>
                <c:pt idx="153">
                  <c:v>117689</c:v>
                </c:pt>
                <c:pt idx="154">
                  <c:v>118343</c:v>
                </c:pt>
                <c:pt idx="155">
                  <c:v>118714</c:v>
                </c:pt>
                <c:pt idx="156">
                  <c:v>119253</c:v>
                </c:pt>
                <c:pt idx="157">
                  <c:v>119610</c:v>
                </c:pt>
                <c:pt idx="158">
                  <c:v>119762</c:v>
                </c:pt>
                <c:pt idx="159">
                  <c:v>119732</c:v>
                </c:pt>
                <c:pt idx="160">
                  <c:v>119598</c:v>
                </c:pt>
                <c:pt idx="161">
                  <c:v>120087</c:v>
                </c:pt>
                <c:pt idx="162">
                  <c:v>120564</c:v>
                </c:pt>
                <c:pt idx="163">
                  <c:v>120906</c:v>
                </c:pt>
                <c:pt idx="164">
                  <c:v>121333</c:v>
                </c:pt>
                <c:pt idx="165">
                  <c:v>121558</c:v>
                </c:pt>
                <c:pt idx="166">
                  <c:v>121787</c:v>
                </c:pt>
                <c:pt idx="167">
                  <c:v>122204</c:v>
                </c:pt>
                <c:pt idx="168">
                  <c:v>122191</c:v>
                </c:pt>
                <c:pt idx="169">
                  <c:v>122324</c:v>
                </c:pt>
                <c:pt idx="170">
                  <c:v>122285</c:v>
                </c:pt>
                <c:pt idx="171">
                  <c:v>122100</c:v>
                </c:pt>
                <c:pt idx="172">
                  <c:v>122113</c:v>
                </c:pt>
                <c:pt idx="173">
                  <c:v>122313</c:v>
                </c:pt>
                <c:pt idx="174">
                  <c:v>122354</c:v>
                </c:pt>
                <c:pt idx="175">
                  <c:v>122346</c:v>
                </c:pt>
                <c:pt idx="176">
                  <c:v>122408</c:v>
                </c:pt>
                <c:pt idx="177">
                  <c:v>122822</c:v>
                </c:pt>
                <c:pt idx="178">
                  <c:v>123014</c:v>
                </c:pt>
                <c:pt idx="179">
                  <c:v>123285</c:v>
                </c:pt>
                <c:pt idx="180">
                  <c:v>123304</c:v>
                </c:pt>
                <c:pt idx="181">
                  <c:v>123088</c:v>
                </c:pt>
                <c:pt idx="182">
                  <c:v>122930</c:v>
                </c:pt>
                <c:pt idx="183">
                  <c:v>122875</c:v>
                </c:pt>
                <c:pt idx="184">
                  <c:v>121502</c:v>
                </c:pt>
                <c:pt idx="185">
                  <c:v>120326</c:v>
                </c:pt>
                <c:pt idx="186">
                  <c:v>120103</c:v>
                </c:pt>
                <c:pt idx="187">
                  <c:v>120591</c:v>
                </c:pt>
                <c:pt idx="188">
                  <c:v>121323</c:v>
                </c:pt>
                <c:pt idx="189">
                  <c:v>122033</c:v>
                </c:pt>
                <c:pt idx="190">
                  <c:v>122356</c:v>
                </c:pt>
                <c:pt idx="191">
                  <c:v>123687</c:v>
                </c:pt>
                <c:pt idx="192">
                  <c:v>125118</c:v>
                </c:pt>
                <c:pt idx="193">
                  <c:v>125684</c:v>
                </c:pt>
                <c:pt idx="194">
                  <c:v>125618</c:v>
                </c:pt>
                <c:pt idx="195">
                  <c:v>125484</c:v>
                </c:pt>
                <c:pt idx="196">
                  <c:v>125453</c:v>
                </c:pt>
                <c:pt idx="197">
                  <c:v>125329</c:v>
                </c:pt>
                <c:pt idx="198">
                  <c:v>125431</c:v>
                </c:pt>
                <c:pt idx="199">
                  <c:v>125423</c:v>
                </c:pt>
                <c:pt idx="200">
                  <c:v>125406</c:v>
                </c:pt>
                <c:pt idx="201">
                  <c:v>125372</c:v>
                </c:pt>
                <c:pt idx="202">
                  <c:v>125253</c:v>
                </c:pt>
                <c:pt idx="203">
                  <c:v>125155</c:v>
                </c:pt>
                <c:pt idx="204">
                  <c:v>125378</c:v>
                </c:pt>
                <c:pt idx="205">
                  <c:v>125506</c:v>
                </c:pt>
                <c:pt idx="206">
                  <c:v>125508</c:v>
                </c:pt>
                <c:pt idx="207">
                  <c:v>125507</c:v>
                </c:pt>
                <c:pt idx="208">
                  <c:v>125581</c:v>
                </c:pt>
                <c:pt idx="209">
                  <c:v>125457</c:v>
                </c:pt>
                <c:pt idx="210">
                  <c:v>125281</c:v>
                </c:pt>
                <c:pt idx="211">
                  <c:v>124986</c:v>
                </c:pt>
                <c:pt idx="212">
                  <c:v>124764</c:v>
                </c:pt>
                <c:pt idx="213">
                  <c:v>124615</c:v>
                </c:pt>
                <c:pt idx="214">
                  <c:v>124656</c:v>
                </c:pt>
                <c:pt idx="215">
                  <c:v>124604</c:v>
                </c:pt>
                <c:pt idx="216">
                  <c:v>124609</c:v>
                </c:pt>
                <c:pt idx="217">
                  <c:v>124485</c:v>
                </c:pt>
                <c:pt idx="218">
                  <c:v>124282</c:v>
                </c:pt>
                <c:pt idx="219">
                  <c:v>124191</c:v>
                </c:pt>
                <c:pt idx="220">
                  <c:v>123933</c:v>
                </c:pt>
                <c:pt idx="221">
                  <c:v>123506</c:v>
                </c:pt>
                <c:pt idx="222">
                  <c:v>123233</c:v>
                </c:pt>
                <c:pt idx="223">
                  <c:v>123140</c:v>
                </c:pt>
                <c:pt idx="224">
                  <c:v>123122</c:v>
                </c:pt>
                <c:pt idx="225">
                  <c:v>123391</c:v>
                </c:pt>
                <c:pt idx="226">
                  <c:v>123261</c:v>
                </c:pt>
                <c:pt idx="227">
                  <c:v>123491</c:v>
                </c:pt>
                <c:pt idx="228">
                  <c:v>123668</c:v>
                </c:pt>
                <c:pt idx="229">
                  <c:v>123840</c:v>
                </c:pt>
                <c:pt idx="230">
                  <c:v>123923</c:v>
                </c:pt>
                <c:pt idx="231">
                  <c:v>124042</c:v>
                </c:pt>
                <c:pt idx="232">
                  <c:v>123948</c:v>
                </c:pt>
                <c:pt idx="233">
                  <c:v>124221</c:v>
                </c:pt>
                <c:pt idx="234">
                  <c:v>124202</c:v>
                </c:pt>
                <c:pt idx="235">
                  <c:v>124001</c:v>
                </c:pt>
                <c:pt idx="236">
                  <c:v>123938</c:v>
                </c:pt>
                <c:pt idx="237">
                  <c:v>123817</c:v>
                </c:pt>
                <c:pt idx="238">
                  <c:v>123696</c:v>
                </c:pt>
                <c:pt idx="239">
                  <c:v>123842</c:v>
                </c:pt>
                <c:pt idx="240">
                  <c:v>123862</c:v>
                </c:pt>
                <c:pt idx="241">
                  <c:v>123911</c:v>
                </c:pt>
                <c:pt idx="242">
                  <c:v>123840</c:v>
                </c:pt>
                <c:pt idx="243">
                  <c:v>122603</c:v>
                </c:pt>
                <c:pt idx="244">
                  <c:v>121689</c:v>
                </c:pt>
                <c:pt idx="245">
                  <c:v>120484</c:v>
                </c:pt>
                <c:pt idx="246">
                  <c:v>119624</c:v>
                </c:pt>
                <c:pt idx="247">
                  <c:v>119004</c:v>
                </c:pt>
                <c:pt idx="248">
                  <c:v>118329</c:v>
                </c:pt>
                <c:pt idx="249">
                  <c:v>117842</c:v>
                </c:pt>
                <c:pt idx="250">
                  <c:v>118637</c:v>
                </c:pt>
                <c:pt idx="251">
                  <c:v>119179</c:v>
                </c:pt>
                <c:pt idx="252">
                  <c:v>119942</c:v>
                </c:pt>
                <c:pt idx="253">
                  <c:v>120320</c:v>
                </c:pt>
                <c:pt idx="254">
                  <c:v>120578</c:v>
                </c:pt>
                <c:pt idx="255">
                  <c:v>120893</c:v>
                </c:pt>
                <c:pt idx="256">
                  <c:v>120991</c:v>
                </c:pt>
                <c:pt idx="257">
                  <c:v>121058</c:v>
                </c:pt>
                <c:pt idx="258">
                  <c:v>121176</c:v>
                </c:pt>
                <c:pt idx="259">
                  <c:v>121445</c:v>
                </c:pt>
                <c:pt idx="260">
                  <c:v>121534</c:v>
                </c:pt>
                <c:pt idx="261">
                  <c:v>121420</c:v>
                </c:pt>
                <c:pt idx="262">
                  <c:v>121388</c:v>
                </c:pt>
                <c:pt idx="263">
                  <c:v>121408</c:v>
                </c:pt>
                <c:pt idx="264">
                  <c:v>121233</c:v>
                </c:pt>
                <c:pt idx="265">
                  <c:v>121159</c:v>
                </c:pt>
                <c:pt idx="266">
                  <c:v>120908</c:v>
                </c:pt>
                <c:pt idx="267">
                  <c:v>120809</c:v>
                </c:pt>
                <c:pt idx="268">
                  <c:v>120884</c:v>
                </c:pt>
                <c:pt idx="269">
                  <c:v>120868</c:v>
                </c:pt>
                <c:pt idx="270">
                  <c:v>120791</c:v>
                </c:pt>
                <c:pt idx="271">
                  <c:v>120816</c:v>
                </c:pt>
                <c:pt idx="272">
                  <c:v>120784</c:v>
                </c:pt>
                <c:pt idx="273">
                  <c:v>120418</c:v>
                </c:pt>
                <c:pt idx="274">
                  <c:v>120140</c:v>
                </c:pt>
                <c:pt idx="275">
                  <c:v>119784</c:v>
                </c:pt>
                <c:pt idx="276">
                  <c:v>119659</c:v>
                </c:pt>
                <c:pt idx="277">
                  <c:v>119575</c:v>
                </c:pt>
                <c:pt idx="278">
                  <c:v>119440</c:v>
                </c:pt>
                <c:pt idx="279">
                  <c:v>119427</c:v>
                </c:pt>
                <c:pt idx="280">
                  <c:v>119591</c:v>
                </c:pt>
                <c:pt idx="281">
                  <c:v>119432</c:v>
                </c:pt>
                <c:pt idx="282">
                  <c:v>119304</c:v>
                </c:pt>
                <c:pt idx="283">
                  <c:v>119017</c:v>
                </c:pt>
                <c:pt idx="284">
                  <c:v>118592</c:v>
                </c:pt>
                <c:pt idx="285">
                  <c:v>118405</c:v>
                </c:pt>
                <c:pt idx="286">
                  <c:v>118221</c:v>
                </c:pt>
                <c:pt idx="287">
                  <c:v>118103</c:v>
                </c:pt>
                <c:pt idx="288">
                  <c:v>118040</c:v>
                </c:pt>
                <c:pt idx="289">
                  <c:v>118134</c:v>
                </c:pt>
                <c:pt idx="290">
                  <c:v>118424</c:v>
                </c:pt>
                <c:pt idx="291">
                  <c:v>118824</c:v>
                </c:pt>
                <c:pt idx="292">
                  <c:v>118808</c:v>
                </c:pt>
                <c:pt idx="293">
                  <c:v>118656</c:v>
                </c:pt>
                <c:pt idx="294">
                  <c:v>118670</c:v>
                </c:pt>
                <c:pt idx="295">
                  <c:v>118805</c:v>
                </c:pt>
                <c:pt idx="296">
                  <c:v>118763</c:v>
                </c:pt>
                <c:pt idx="297">
                  <c:v>118506</c:v>
                </c:pt>
                <c:pt idx="298">
                  <c:v>118220</c:v>
                </c:pt>
                <c:pt idx="299">
                  <c:v>117658</c:v>
                </c:pt>
                <c:pt idx="300">
                  <c:v>117232</c:v>
                </c:pt>
                <c:pt idx="301">
                  <c:v>116577</c:v>
                </c:pt>
                <c:pt idx="302">
                  <c:v>115799</c:v>
                </c:pt>
                <c:pt idx="303">
                  <c:v>114694</c:v>
                </c:pt>
              </c:numCache>
            </c:numRef>
          </c:val>
          <c:smooth val="0"/>
          <c:extLst>
            <c:ext xmlns:c16="http://schemas.microsoft.com/office/drawing/2014/chart" uri="{C3380CC4-5D6E-409C-BE32-E72D297353CC}">
              <c16:uniqueId val="{00000001-7B4D-461F-89A0-59B01E9201BC}"/>
            </c:ext>
          </c:extLst>
        </c:ser>
        <c:dLbls>
          <c:showLegendKey val="0"/>
          <c:showVal val="0"/>
          <c:showCatName val="0"/>
          <c:showSerName val="0"/>
          <c:showPercent val="0"/>
          <c:showBubbleSize val="0"/>
        </c:dLbls>
        <c:smooth val="0"/>
        <c:axId val="765120848"/>
        <c:axId val="765121504"/>
        <c:extLst>
          <c:ext xmlns:c15="http://schemas.microsoft.com/office/drawing/2012/chart" uri="{02D57815-91ED-43cb-92C2-25804820EDAC}">
            <c15:filteredLineSeries>
              <c15:ser>
                <c:idx val="0"/>
                <c:order val="0"/>
                <c:tx>
                  <c:strRef>
                    <c:extLst>
                      <c:ext uri="{02D57815-91ED-43cb-92C2-25804820EDAC}">
                        <c15:formulaRef>
                          <c15:sqref>FlightTrack!#REF!</c15:sqref>
                        </c15:formulaRef>
                      </c:ext>
                    </c:extLst>
                    <c:strCache>
                      <c:ptCount val="1"/>
                      <c:pt idx="0">
                        <c:v>#REF!</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extLst>
                      <c:ext uri="{02D57815-91ED-43cb-92C2-25804820EDAC}">
                        <c15:formulaRef>
                          <c15:sqref>FlightTrack!$A$4:$A$307</c15:sqref>
                        </c15:formulaRef>
                      </c:ext>
                    </c:extLst>
                    <c:numCache>
                      <c:formatCode>[$-40C]d\-mmm;@</c:formatCode>
                      <c:ptCount val="304"/>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1</c:v>
                      </c:pt>
                      <c:pt idx="60">
                        <c:v>43892</c:v>
                      </c:pt>
                      <c:pt idx="61">
                        <c:v>43893</c:v>
                      </c:pt>
                      <c:pt idx="62">
                        <c:v>43894</c:v>
                      </c:pt>
                      <c:pt idx="63">
                        <c:v>43895</c:v>
                      </c:pt>
                      <c:pt idx="64">
                        <c:v>43896</c:v>
                      </c:pt>
                      <c:pt idx="65">
                        <c:v>43897</c:v>
                      </c:pt>
                      <c:pt idx="66">
                        <c:v>43898</c:v>
                      </c:pt>
                      <c:pt idx="67">
                        <c:v>43899</c:v>
                      </c:pt>
                      <c:pt idx="68">
                        <c:v>43900</c:v>
                      </c:pt>
                      <c:pt idx="69">
                        <c:v>43901</c:v>
                      </c:pt>
                      <c:pt idx="70">
                        <c:v>43902</c:v>
                      </c:pt>
                      <c:pt idx="71">
                        <c:v>43903</c:v>
                      </c:pt>
                      <c:pt idx="72">
                        <c:v>43904</c:v>
                      </c:pt>
                      <c:pt idx="73">
                        <c:v>43905</c:v>
                      </c:pt>
                      <c:pt idx="74">
                        <c:v>43906</c:v>
                      </c:pt>
                      <c:pt idx="75">
                        <c:v>43907</c:v>
                      </c:pt>
                      <c:pt idx="76">
                        <c:v>43908</c:v>
                      </c:pt>
                      <c:pt idx="77">
                        <c:v>43909</c:v>
                      </c:pt>
                      <c:pt idx="78">
                        <c:v>43910</c:v>
                      </c:pt>
                      <c:pt idx="79">
                        <c:v>43911</c:v>
                      </c:pt>
                      <c:pt idx="80">
                        <c:v>43912</c:v>
                      </c:pt>
                      <c:pt idx="81">
                        <c:v>43913</c:v>
                      </c:pt>
                      <c:pt idx="82">
                        <c:v>43914</c:v>
                      </c:pt>
                      <c:pt idx="83">
                        <c:v>43915</c:v>
                      </c:pt>
                      <c:pt idx="84">
                        <c:v>43916</c:v>
                      </c:pt>
                      <c:pt idx="85">
                        <c:v>43917</c:v>
                      </c:pt>
                      <c:pt idx="86">
                        <c:v>43918</c:v>
                      </c:pt>
                      <c:pt idx="87">
                        <c:v>43919</c:v>
                      </c:pt>
                      <c:pt idx="88">
                        <c:v>43920</c:v>
                      </c:pt>
                      <c:pt idx="89">
                        <c:v>43921</c:v>
                      </c:pt>
                      <c:pt idx="90">
                        <c:v>43922</c:v>
                      </c:pt>
                      <c:pt idx="91">
                        <c:v>43923</c:v>
                      </c:pt>
                      <c:pt idx="92">
                        <c:v>43924</c:v>
                      </c:pt>
                      <c:pt idx="93">
                        <c:v>43925</c:v>
                      </c:pt>
                      <c:pt idx="94">
                        <c:v>43926</c:v>
                      </c:pt>
                      <c:pt idx="95">
                        <c:v>43927</c:v>
                      </c:pt>
                      <c:pt idx="96">
                        <c:v>43928</c:v>
                      </c:pt>
                      <c:pt idx="97">
                        <c:v>43929</c:v>
                      </c:pt>
                      <c:pt idx="98">
                        <c:v>43930</c:v>
                      </c:pt>
                      <c:pt idx="99">
                        <c:v>43931</c:v>
                      </c:pt>
                      <c:pt idx="100">
                        <c:v>43932</c:v>
                      </c:pt>
                      <c:pt idx="101">
                        <c:v>43933</c:v>
                      </c:pt>
                      <c:pt idx="102">
                        <c:v>43934</c:v>
                      </c:pt>
                      <c:pt idx="103">
                        <c:v>43935</c:v>
                      </c:pt>
                      <c:pt idx="104">
                        <c:v>43936</c:v>
                      </c:pt>
                      <c:pt idx="105">
                        <c:v>43937</c:v>
                      </c:pt>
                      <c:pt idx="106">
                        <c:v>43938</c:v>
                      </c:pt>
                      <c:pt idx="107">
                        <c:v>43939</c:v>
                      </c:pt>
                      <c:pt idx="108">
                        <c:v>43940</c:v>
                      </c:pt>
                      <c:pt idx="109">
                        <c:v>43941</c:v>
                      </c:pt>
                      <c:pt idx="110">
                        <c:v>43942</c:v>
                      </c:pt>
                      <c:pt idx="111">
                        <c:v>43943</c:v>
                      </c:pt>
                      <c:pt idx="112">
                        <c:v>43944</c:v>
                      </c:pt>
                      <c:pt idx="113">
                        <c:v>43945</c:v>
                      </c:pt>
                      <c:pt idx="114">
                        <c:v>43946</c:v>
                      </c:pt>
                      <c:pt idx="115">
                        <c:v>43947</c:v>
                      </c:pt>
                      <c:pt idx="116">
                        <c:v>43948</c:v>
                      </c:pt>
                      <c:pt idx="117">
                        <c:v>43949</c:v>
                      </c:pt>
                      <c:pt idx="118">
                        <c:v>43950</c:v>
                      </c:pt>
                      <c:pt idx="119">
                        <c:v>43951</c:v>
                      </c:pt>
                      <c:pt idx="120">
                        <c:v>43952</c:v>
                      </c:pt>
                      <c:pt idx="121">
                        <c:v>43953</c:v>
                      </c:pt>
                      <c:pt idx="122">
                        <c:v>43954</c:v>
                      </c:pt>
                      <c:pt idx="123">
                        <c:v>43955</c:v>
                      </c:pt>
                      <c:pt idx="124">
                        <c:v>43956</c:v>
                      </c:pt>
                      <c:pt idx="125">
                        <c:v>43957</c:v>
                      </c:pt>
                      <c:pt idx="126">
                        <c:v>43958</c:v>
                      </c:pt>
                      <c:pt idx="127">
                        <c:v>43959</c:v>
                      </c:pt>
                      <c:pt idx="128">
                        <c:v>43960</c:v>
                      </c:pt>
                      <c:pt idx="129">
                        <c:v>43961</c:v>
                      </c:pt>
                      <c:pt idx="130">
                        <c:v>43962</c:v>
                      </c:pt>
                      <c:pt idx="131">
                        <c:v>43963</c:v>
                      </c:pt>
                      <c:pt idx="132">
                        <c:v>43964</c:v>
                      </c:pt>
                      <c:pt idx="133">
                        <c:v>43965</c:v>
                      </c:pt>
                      <c:pt idx="134">
                        <c:v>43966</c:v>
                      </c:pt>
                      <c:pt idx="135">
                        <c:v>43967</c:v>
                      </c:pt>
                      <c:pt idx="136">
                        <c:v>43968</c:v>
                      </c:pt>
                      <c:pt idx="137">
                        <c:v>43969</c:v>
                      </c:pt>
                      <c:pt idx="138">
                        <c:v>43970</c:v>
                      </c:pt>
                      <c:pt idx="139">
                        <c:v>43971</c:v>
                      </c:pt>
                      <c:pt idx="140">
                        <c:v>43972</c:v>
                      </c:pt>
                      <c:pt idx="141">
                        <c:v>43973</c:v>
                      </c:pt>
                      <c:pt idx="142">
                        <c:v>43974</c:v>
                      </c:pt>
                      <c:pt idx="143">
                        <c:v>43975</c:v>
                      </c:pt>
                      <c:pt idx="144">
                        <c:v>43976</c:v>
                      </c:pt>
                      <c:pt idx="145">
                        <c:v>43977</c:v>
                      </c:pt>
                      <c:pt idx="146">
                        <c:v>43978</c:v>
                      </c:pt>
                      <c:pt idx="147">
                        <c:v>43979</c:v>
                      </c:pt>
                      <c:pt idx="148">
                        <c:v>43980</c:v>
                      </c:pt>
                      <c:pt idx="149">
                        <c:v>43981</c:v>
                      </c:pt>
                      <c:pt idx="150">
                        <c:v>43982</c:v>
                      </c:pt>
                      <c:pt idx="151">
                        <c:v>43983</c:v>
                      </c:pt>
                      <c:pt idx="152">
                        <c:v>43984</c:v>
                      </c:pt>
                      <c:pt idx="153">
                        <c:v>43985</c:v>
                      </c:pt>
                      <c:pt idx="154">
                        <c:v>43986</c:v>
                      </c:pt>
                      <c:pt idx="155">
                        <c:v>43987</c:v>
                      </c:pt>
                      <c:pt idx="156">
                        <c:v>43988</c:v>
                      </c:pt>
                      <c:pt idx="157">
                        <c:v>43989</c:v>
                      </c:pt>
                      <c:pt idx="158">
                        <c:v>43990</c:v>
                      </c:pt>
                      <c:pt idx="159">
                        <c:v>43991</c:v>
                      </c:pt>
                      <c:pt idx="160">
                        <c:v>43992</c:v>
                      </c:pt>
                      <c:pt idx="161">
                        <c:v>43993</c:v>
                      </c:pt>
                      <c:pt idx="162">
                        <c:v>43994</c:v>
                      </c:pt>
                      <c:pt idx="163">
                        <c:v>43995</c:v>
                      </c:pt>
                      <c:pt idx="164">
                        <c:v>43996</c:v>
                      </c:pt>
                      <c:pt idx="165">
                        <c:v>43997</c:v>
                      </c:pt>
                      <c:pt idx="166">
                        <c:v>43998</c:v>
                      </c:pt>
                      <c:pt idx="167">
                        <c:v>43999</c:v>
                      </c:pt>
                      <c:pt idx="168">
                        <c:v>44000</c:v>
                      </c:pt>
                      <c:pt idx="169">
                        <c:v>44001</c:v>
                      </c:pt>
                      <c:pt idx="170">
                        <c:v>44002</c:v>
                      </c:pt>
                      <c:pt idx="171">
                        <c:v>44003</c:v>
                      </c:pt>
                      <c:pt idx="172">
                        <c:v>44004</c:v>
                      </c:pt>
                      <c:pt idx="173">
                        <c:v>44005</c:v>
                      </c:pt>
                      <c:pt idx="174">
                        <c:v>44006</c:v>
                      </c:pt>
                      <c:pt idx="175">
                        <c:v>44007</c:v>
                      </c:pt>
                      <c:pt idx="176">
                        <c:v>44008</c:v>
                      </c:pt>
                      <c:pt idx="177">
                        <c:v>44009</c:v>
                      </c:pt>
                      <c:pt idx="178">
                        <c:v>44010</c:v>
                      </c:pt>
                      <c:pt idx="179">
                        <c:v>44011</c:v>
                      </c:pt>
                      <c:pt idx="180">
                        <c:v>44012</c:v>
                      </c:pt>
                      <c:pt idx="181">
                        <c:v>44013</c:v>
                      </c:pt>
                      <c:pt idx="182">
                        <c:v>44014</c:v>
                      </c:pt>
                      <c:pt idx="183">
                        <c:v>44015</c:v>
                      </c:pt>
                      <c:pt idx="184">
                        <c:v>44016</c:v>
                      </c:pt>
                      <c:pt idx="185">
                        <c:v>44017</c:v>
                      </c:pt>
                      <c:pt idx="186">
                        <c:v>44018</c:v>
                      </c:pt>
                      <c:pt idx="187">
                        <c:v>44019</c:v>
                      </c:pt>
                      <c:pt idx="188">
                        <c:v>44020</c:v>
                      </c:pt>
                      <c:pt idx="189">
                        <c:v>44021</c:v>
                      </c:pt>
                      <c:pt idx="190">
                        <c:v>44022</c:v>
                      </c:pt>
                      <c:pt idx="191">
                        <c:v>44023</c:v>
                      </c:pt>
                      <c:pt idx="192">
                        <c:v>44024</c:v>
                      </c:pt>
                      <c:pt idx="193">
                        <c:v>44025</c:v>
                      </c:pt>
                      <c:pt idx="194">
                        <c:v>44026</c:v>
                      </c:pt>
                      <c:pt idx="195">
                        <c:v>44027</c:v>
                      </c:pt>
                      <c:pt idx="196">
                        <c:v>44028</c:v>
                      </c:pt>
                      <c:pt idx="197">
                        <c:v>44029</c:v>
                      </c:pt>
                      <c:pt idx="198">
                        <c:v>44030</c:v>
                      </c:pt>
                      <c:pt idx="199">
                        <c:v>44031</c:v>
                      </c:pt>
                      <c:pt idx="200">
                        <c:v>44032</c:v>
                      </c:pt>
                      <c:pt idx="201">
                        <c:v>44033</c:v>
                      </c:pt>
                      <c:pt idx="202">
                        <c:v>44034</c:v>
                      </c:pt>
                      <c:pt idx="203">
                        <c:v>44035</c:v>
                      </c:pt>
                      <c:pt idx="204">
                        <c:v>44036</c:v>
                      </c:pt>
                      <c:pt idx="205">
                        <c:v>44037</c:v>
                      </c:pt>
                      <c:pt idx="206">
                        <c:v>44038</c:v>
                      </c:pt>
                      <c:pt idx="207">
                        <c:v>44039</c:v>
                      </c:pt>
                      <c:pt idx="208">
                        <c:v>44040</c:v>
                      </c:pt>
                      <c:pt idx="209">
                        <c:v>44041</c:v>
                      </c:pt>
                      <c:pt idx="210">
                        <c:v>44042</c:v>
                      </c:pt>
                      <c:pt idx="211">
                        <c:v>44043</c:v>
                      </c:pt>
                      <c:pt idx="212">
                        <c:v>44044</c:v>
                      </c:pt>
                      <c:pt idx="213">
                        <c:v>44045</c:v>
                      </c:pt>
                      <c:pt idx="214">
                        <c:v>44046</c:v>
                      </c:pt>
                      <c:pt idx="215">
                        <c:v>44047</c:v>
                      </c:pt>
                      <c:pt idx="216">
                        <c:v>44048</c:v>
                      </c:pt>
                      <c:pt idx="217">
                        <c:v>44049</c:v>
                      </c:pt>
                      <c:pt idx="218">
                        <c:v>44050</c:v>
                      </c:pt>
                      <c:pt idx="219">
                        <c:v>44051</c:v>
                      </c:pt>
                      <c:pt idx="220">
                        <c:v>44052</c:v>
                      </c:pt>
                      <c:pt idx="221">
                        <c:v>44053</c:v>
                      </c:pt>
                      <c:pt idx="222">
                        <c:v>44054</c:v>
                      </c:pt>
                      <c:pt idx="223">
                        <c:v>44055</c:v>
                      </c:pt>
                      <c:pt idx="224">
                        <c:v>44056</c:v>
                      </c:pt>
                      <c:pt idx="225">
                        <c:v>44057</c:v>
                      </c:pt>
                      <c:pt idx="226">
                        <c:v>44058</c:v>
                      </c:pt>
                      <c:pt idx="227">
                        <c:v>44059</c:v>
                      </c:pt>
                      <c:pt idx="228">
                        <c:v>44060</c:v>
                      </c:pt>
                      <c:pt idx="229">
                        <c:v>44061</c:v>
                      </c:pt>
                      <c:pt idx="230">
                        <c:v>44062</c:v>
                      </c:pt>
                      <c:pt idx="231">
                        <c:v>44063</c:v>
                      </c:pt>
                      <c:pt idx="232">
                        <c:v>44064</c:v>
                      </c:pt>
                      <c:pt idx="233">
                        <c:v>44065</c:v>
                      </c:pt>
                      <c:pt idx="234">
                        <c:v>44066</c:v>
                      </c:pt>
                      <c:pt idx="235">
                        <c:v>44067</c:v>
                      </c:pt>
                      <c:pt idx="236">
                        <c:v>44068</c:v>
                      </c:pt>
                      <c:pt idx="237">
                        <c:v>44069</c:v>
                      </c:pt>
                      <c:pt idx="238">
                        <c:v>44070</c:v>
                      </c:pt>
                      <c:pt idx="239">
                        <c:v>44071</c:v>
                      </c:pt>
                      <c:pt idx="240">
                        <c:v>44072</c:v>
                      </c:pt>
                      <c:pt idx="241">
                        <c:v>44073</c:v>
                      </c:pt>
                      <c:pt idx="242">
                        <c:v>44074</c:v>
                      </c:pt>
                      <c:pt idx="243">
                        <c:v>44075</c:v>
                      </c:pt>
                      <c:pt idx="244">
                        <c:v>44076</c:v>
                      </c:pt>
                      <c:pt idx="245">
                        <c:v>44077</c:v>
                      </c:pt>
                      <c:pt idx="246">
                        <c:v>44078</c:v>
                      </c:pt>
                      <c:pt idx="247">
                        <c:v>44079</c:v>
                      </c:pt>
                      <c:pt idx="248">
                        <c:v>44080</c:v>
                      </c:pt>
                      <c:pt idx="249">
                        <c:v>44081</c:v>
                      </c:pt>
                      <c:pt idx="250">
                        <c:v>44082</c:v>
                      </c:pt>
                      <c:pt idx="251">
                        <c:v>44083</c:v>
                      </c:pt>
                      <c:pt idx="252">
                        <c:v>44084</c:v>
                      </c:pt>
                      <c:pt idx="253">
                        <c:v>44085</c:v>
                      </c:pt>
                      <c:pt idx="254">
                        <c:v>44086</c:v>
                      </c:pt>
                      <c:pt idx="255">
                        <c:v>44087</c:v>
                      </c:pt>
                      <c:pt idx="256">
                        <c:v>44088</c:v>
                      </c:pt>
                      <c:pt idx="257">
                        <c:v>44089</c:v>
                      </c:pt>
                      <c:pt idx="258">
                        <c:v>44090</c:v>
                      </c:pt>
                      <c:pt idx="259">
                        <c:v>44091</c:v>
                      </c:pt>
                      <c:pt idx="260">
                        <c:v>44092</c:v>
                      </c:pt>
                      <c:pt idx="261">
                        <c:v>44093</c:v>
                      </c:pt>
                      <c:pt idx="262">
                        <c:v>44094</c:v>
                      </c:pt>
                      <c:pt idx="263">
                        <c:v>44095</c:v>
                      </c:pt>
                      <c:pt idx="264">
                        <c:v>44096</c:v>
                      </c:pt>
                      <c:pt idx="265">
                        <c:v>44097</c:v>
                      </c:pt>
                      <c:pt idx="266">
                        <c:v>44098</c:v>
                      </c:pt>
                      <c:pt idx="267">
                        <c:v>44099</c:v>
                      </c:pt>
                      <c:pt idx="268">
                        <c:v>44100</c:v>
                      </c:pt>
                      <c:pt idx="269">
                        <c:v>44101</c:v>
                      </c:pt>
                      <c:pt idx="270">
                        <c:v>44102</c:v>
                      </c:pt>
                      <c:pt idx="271">
                        <c:v>44103</c:v>
                      </c:pt>
                      <c:pt idx="272">
                        <c:v>44104</c:v>
                      </c:pt>
                      <c:pt idx="273">
                        <c:v>44105</c:v>
                      </c:pt>
                      <c:pt idx="274">
                        <c:v>44106</c:v>
                      </c:pt>
                      <c:pt idx="275">
                        <c:v>44107</c:v>
                      </c:pt>
                      <c:pt idx="276">
                        <c:v>44108</c:v>
                      </c:pt>
                      <c:pt idx="277">
                        <c:v>44109</c:v>
                      </c:pt>
                      <c:pt idx="278">
                        <c:v>44110</c:v>
                      </c:pt>
                      <c:pt idx="279">
                        <c:v>44111</c:v>
                      </c:pt>
                      <c:pt idx="280">
                        <c:v>44112</c:v>
                      </c:pt>
                      <c:pt idx="281">
                        <c:v>44113</c:v>
                      </c:pt>
                      <c:pt idx="282">
                        <c:v>44114</c:v>
                      </c:pt>
                      <c:pt idx="283">
                        <c:v>44115</c:v>
                      </c:pt>
                      <c:pt idx="284">
                        <c:v>44116</c:v>
                      </c:pt>
                      <c:pt idx="285">
                        <c:v>44117</c:v>
                      </c:pt>
                      <c:pt idx="286">
                        <c:v>44118</c:v>
                      </c:pt>
                      <c:pt idx="287">
                        <c:v>44119</c:v>
                      </c:pt>
                      <c:pt idx="288">
                        <c:v>44120</c:v>
                      </c:pt>
                      <c:pt idx="289">
                        <c:v>44121</c:v>
                      </c:pt>
                      <c:pt idx="290">
                        <c:v>44122</c:v>
                      </c:pt>
                      <c:pt idx="291">
                        <c:v>44123</c:v>
                      </c:pt>
                      <c:pt idx="292">
                        <c:v>44124</c:v>
                      </c:pt>
                      <c:pt idx="293">
                        <c:v>44125</c:v>
                      </c:pt>
                      <c:pt idx="294">
                        <c:v>44126</c:v>
                      </c:pt>
                      <c:pt idx="295">
                        <c:v>44127</c:v>
                      </c:pt>
                      <c:pt idx="296">
                        <c:v>44128</c:v>
                      </c:pt>
                      <c:pt idx="297">
                        <c:v>44129</c:v>
                      </c:pt>
                      <c:pt idx="298">
                        <c:v>44130</c:v>
                      </c:pt>
                      <c:pt idx="299">
                        <c:v>44131</c:v>
                      </c:pt>
                      <c:pt idx="300">
                        <c:v>44132</c:v>
                      </c:pt>
                      <c:pt idx="301">
                        <c:v>44133</c:v>
                      </c:pt>
                      <c:pt idx="302">
                        <c:v>44134</c:v>
                      </c:pt>
                      <c:pt idx="303">
                        <c:v>44135</c:v>
                      </c:pt>
                    </c:numCache>
                  </c:numRef>
                </c:cat>
                <c:val>
                  <c:numRef>
                    <c:extLst>
                      <c:ext uri="{02D57815-91ED-43cb-92C2-25804820EDAC}">
                        <c15:formulaRef>
                          <c15:sqref>FlightTrack!#REF!</c15:sqref>
                        </c15:formulaRef>
                      </c:ext>
                    </c:extLst>
                    <c:numCache>
                      <c:formatCode>General</c:formatCode>
                      <c:ptCount val="1"/>
                      <c:pt idx="0">
                        <c:v>1</c:v>
                      </c:pt>
                    </c:numCache>
                  </c:numRef>
                </c:val>
                <c:smooth val="0"/>
                <c:extLst>
                  <c:ext xmlns:c16="http://schemas.microsoft.com/office/drawing/2014/chart" uri="{C3380CC4-5D6E-409C-BE32-E72D297353CC}">
                    <c16:uniqueId val="{00000002-7B4D-461F-89A0-59B01E9201BC}"/>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FlightTrack!#REF!</c15:sqref>
                        </c15:formulaRef>
                      </c:ext>
                    </c:extLst>
                    <c:strCache>
                      <c:ptCount val="1"/>
                      <c:pt idx="0">
                        <c:v>#REF!</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extLst xmlns:c15="http://schemas.microsoft.com/office/drawing/2012/chart">
                      <c:ext xmlns:c15="http://schemas.microsoft.com/office/drawing/2012/chart" uri="{02D57815-91ED-43cb-92C2-25804820EDAC}">
                        <c15:formulaRef>
                          <c15:sqref>FlightTrack!$A$4:$A$307</c15:sqref>
                        </c15:formulaRef>
                      </c:ext>
                    </c:extLst>
                    <c:numCache>
                      <c:formatCode>[$-40C]d\-mmm;@</c:formatCode>
                      <c:ptCount val="304"/>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1</c:v>
                      </c:pt>
                      <c:pt idx="60">
                        <c:v>43892</c:v>
                      </c:pt>
                      <c:pt idx="61">
                        <c:v>43893</c:v>
                      </c:pt>
                      <c:pt idx="62">
                        <c:v>43894</c:v>
                      </c:pt>
                      <c:pt idx="63">
                        <c:v>43895</c:v>
                      </c:pt>
                      <c:pt idx="64">
                        <c:v>43896</c:v>
                      </c:pt>
                      <c:pt idx="65">
                        <c:v>43897</c:v>
                      </c:pt>
                      <c:pt idx="66">
                        <c:v>43898</c:v>
                      </c:pt>
                      <c:pt idx="67">
                        <c:v>43899</c:v>
                      </c:pt>
                      <c:pt idx="68">
                        <c:v>43900</c:v>
                      </c:pt>
                      <c:pt idx="69">
                        <c:v>43901</c:v>
                      </c:pt>
                      <c:pt idx="70">
                        <c:v>43902</c:v>
                      </c:pt>
                      <c:pt idx="71">
                        <c:v>43903</c:v>
                      </c:pt>
                      <c:pt idx="72">
                        <c:v>43904</c:v>
                      </c:pt>
                      <c:pt idx="73">
                        <c:v>43905</c:v>
                      </c:pt>
                      <c:pt idx="74">
                        <c:v>43906</c:v>
                      </c:pt>
                      <c:pt idx="75">
                        <c:v>43907</c:v>
                      </c:pt>
                      <c:pt idx="76">
                        <c:v>43908</c:v>
                      </c:pt>
                      <c:pt idx="77">
                        <c:v>43909</c:v>
                      </c:pt>
                      <c:pt idx="78">
                        <c:v>43910</c:v>
                      </c:pt>
                      <c:pt idx="79">
                        <c:v>43911</c:v>
                      </c:pt>
                      <c:pt idx="80">
                        <c:v>43912</c:v>
                      </c:pt>
                      <c:pt idx="81">
                        <c:v>43913</c:v>
                      </c:pt>
                      <c:pt idx="82">
                        <c:v>43914</c:v>
                      </c:pt>
                      <c:pt idx="83">
                        <c:v>43915</c:v>
                      </c:pt>
                      <c:pt idx="84">
                        <c:v>43916</c:v>
                      </c:pt>
                      <c:pt idx="85">
                        <c:v>43917</c:v>
                      </c:pt>
                      <c:pt idx="86">
                        <c:v>43918</c:v>
                      </c:pt>
                      <c:pt idx="87">
                        <c:v>43919</c:v>
                      </c:pt>
                      <c:pt idx="88">
                        <c:v>43920</c:v>
                      </c:pt>
                      <c:pt idx="89">
                        <c:v>43921</c:v>
                      </c:pt>
                      <c:pt idx="90">
                        <c:v>43922</c:v>
                      </c:pt>
                      <c:pt idx="91">
                        <c:v>43923</c:v>
                      </c:pt>
                      <c:pt idx="92">
                        <c:v>43924</c:v>
                      </c:pt>
                      <c:pt idx="93">
                        <c:v>43925</c:v>
                      </c:pt>
                      <c:pt idx="94">
                        <c:v>43926</c:v>
                      </c:pt>
                      <c:pt idx="95">
                        <c:v>43927</c:v>
                      </c:pt>
                      <c:pt idx="96">
                        <c:v>43928</c:v>
                      </c:pt>
                      <c:pt idx="97">
                        <c:v>43929</c:v>
                      </c:pt>
                      <c:pt idx="98">
                        <c:v>43930</c:v>
                      </c:pt>
                      <c:pt idx="99">
                        <c:v>43931</c:v>
                      </c:pt>
                      <c:pt idx="100">
                        <c:v>43932</c:v>
                      </c:pt>
                      <c:pt idx="101">
                        <c:v>43933</c:v>
                      </c:pt>
                      <c:pt idx="102">
                        <c:v>43934</c:v>
                      </c:pt>
                      <c:pt idx="103">
                        <c:v>43935</c:v>
                      </c:pt>
                      <c:pt idx="104">
                        <c:v>43936</c:v>
                      </c:pt>
                      <c:pt idx="105">
                        <c:v>43937</c:v>
                      </c:pt>
                      <c:pt idx="106">
                        <c:v>43938</c:v>
                      </c:pt>
                      <c:pt idx="107">
                        <c:v>43939</c:v>
                      </c:pt>
                      <c:pt idx="108">
                        <c:v>43940</c:v>
                      </c:pt>
                      <c:pt idx="109">
                        <c:v>43941</c:v>
                      </c:pt>
                      <c:pt idx="110">
                        <c:v>43942</c:v>
                      </c:pt>
                      <c:pt idx="111">
                        <c:v>43943</c:v>
                      </c:pt>
                      <c:pt idx="112">
                        <c:v>43944</c:v>
                      </c:pt>
                      <c:pt idx="113">
                        <c:v>43945</c:v>
                      </c:pt>
                      <c:pt idx="114">
                        <c:v>43946</c:v>
                      </c:pt>
                      <c:pt idx="115">
                        <c:v>43947</c:v>
                      </c:pt>
                      <c:pt idx="116">
                        <c:v>43948</c:v>
                      </c:pt>
                      <c:pt idx="117">
                        <c:v>43949</c:v>
                      </c:pt>
                      <c:pt idx="118">
                        <c:v>43950</c:v>
                      </c:pt>
                      <c:pt idx="119">
                        <c:v>43951</c:v>
                      </c:pt>
                      <c:pt idx="120">
                        <c:v>43952</c:v>
                      </c:pt>
                      <c:pt idx="121">
                        <c:v>43953</c:v>
                      </c:pt>
                      <c:pt idx="122">
                        <c:v>43954</c:v>
                      </c:pt>
                      <c:pt idx="123">
                        <c:v>43955</c:v>
                      </c:pt>
                      <c:pt idx="124">
                        <c:v>43956</c:v>
                      </c:pt>
                      <c:pt idx="125">
                        <c:v>43957</c:v>
                      </c:pt>
                      <c:pt idx="126">
                        <c:v>43958</c:v>
                      </c:pt>
                      <c:pt idx="127">
                        <c:v>43959</c:v>
                      </c:pt>
                      <c:pt idx="128">
                        <c:v>43960</c:v>
                      </c:pt>
                      <c:pt idx="129">
                        <c:v>43961</c:v>
                      </c:pt>
                      <c:pt idx="130">
                        <c:v>43962</c:v>
                      </c:pt>
                      <c:pt idx="131">
                        <c:v>43963</c:v>
                      </c:pt>
                      <c:pt idx="132">
                        <c:v>43964</c:v>
                      </c:pt>
                      <c:pt idx="133">
                        <c:v>43965</c:v>
                      </c:pt>
                      <c:pt idx="134">
                        <c:v>43966</c:v>
                      </c:pt>
                      <c:pt idx="135">
                        <c:v>43967</c:v>
                      </c:pt>
                      <c:pt idx="136">
                        <c:v>43968</c:v>
                      </c:pt>
                      <c:pt idx="137">
                        <c:v>43969</c:v>
                      </c:pt>
                      <c:pt idx="138">
                        <c:v>43970</c:v>
                      </c:pt>
                      <c:pt idx="139">
                        <c:v>43971</c:v>
                      </c:pt>
                      <c:pt idx="140">
                        <c:v>43972</c:v>
                      </c:pt>
                      <c:pt idx="141">
                        <c:v>43973</c:v>
                      </c:pt>
                      <c:pt idx="142">
                        <c:v>43974</c:v>
                      </c:pt>
                      <c:pt idx="143">
                        <c:v>43975</c:v>
                      </c:pt>
                      <c:pt idx="144">
                        <c:v>43976</c:v>
                      </c:pt>
                      <c:pt idx="145">
                        <c:v>43977</c:v>
                      </c:pt>
                      <c:pt idx="146">
                        <c:v>43978</c:v>
                      </c:pt>
                      <c:pt idx="147">
                        <c:v>43979</c:v>
                      </c:pt>
                      <c:pt idx="148">
                        <c:v>43980</c:v>
                      </c:pt>
                      <c:pt idx="149">
                        <c:v>43981</c:v>
                      </c:pt>
                      <c:pt idx="150">
                        <c:v>43982</c:v>
                      </c:pt>
                      <c:pt idx="151">
                        <c:v>43983</c:v>
                      </c:pt>
                      <c:pt idx="152">
                        <c:v>43984</c:v>
                      </c:pt>
                      <c:pt idx="153">
                        <c:v>43985</c:v>
                      </c:pt>
                      <c:pt idx="154">
                        <c:v>43986</c:v>
                      </c:pt>
                      <c:pt idx="155">
                        <c:v>43987</c:v>
                      </c:pt>
                      <c:pt idx="156">
                        <c:v>43988</c:v>
                      </c:pt>
                      <c:pt idx="157">
                        <c:v>43989</c:v>
                      </c:pt>
                      <c:pt idx="158">
                        <c:v>43990</c:v>
                      </c:pt>
                      <c:pt idx="159">
                        <c:v>43991</c:v>
                      </c:pt>
                      <c:pt idx="160">
                        <c:v>43992</c:v>
                      </c:pt>
                      <c:pt idx="161">
                        <c:v>43993</c:v>
                      </c:pt>
                      <c:pt idx="162">
                        <c:v>43994</c:v>
                      </c:pt>
                      <c:pt idx="163">
                        <c:v>43995</c:v>
                      </c:pt>
                      <c:pt idx="164">
                        <c:v>43996</c:v>
                      </c:pt>
                      <c:pt idx="165">
                        <c:v>43997</c:v>
                      </c:pt>
                      <c:pt idx="166">
                        <c:v>43998</c:v>
                      </c:pt>
                      <c:pt idx="167">
                        <c:v>43999</c:v>
                      </c:pt>
                      <c:pt idx="168">
                        <c:v>44000</c:v>
                      </c:pt>
                      <c:pt idx="169">
                        <c:v>44001</c:v>
                      </c:pt>
                      <c:pt idx="170">
                        <c:v>44002</c:v>
                      </c:pt>
                      <c:pt idx="171">
                        <c:v>44003</c:v>
                      </c:pt>
                      <c:pt idx="172">
                        <c:v>44004</c:v>
                      </c:pt>
                      <c:pt idx="173">
                        <c:v>44005</c:v>
                      </c:pt>
                      <c:pt idx="174">
                        <c:v>44006</c:v>
                      </c:pt>
                      <c:pt idx="175">
                        <c:v>44007</c:v>
                      </c:pt>
                      <c:pt idx="176">
                        <c:v>44008</c:v>
                      </c:pt>
                      <c:pt idx="177">
                        <c:v>44009</c:v>
                      </c:pt>
                      <c:pt idx="178">
                        <c:v>44010</c:v>
                      </c:pt>
                      <c:pt idx="179">
                        <c:v>44011</c:v>
                      </c:pt>
                      <c:pt idx="180">
                        <c:v>44012</c:v>
                      </c:pt>
                      <c:pt idx="181">
                        <c:v>44013</c:v>
                      </c:pt>
                      <c:pt idx="182">
                        <c:v>44014</c:v>
                      </c:pt>
                      <c:pt idx="183">
                        <c:v>44015</c:v>
                      </c:pt>
                      <c:pt idx="184">
                        <c:v>44016</c:v>
                      </c:pt>
                      <c:pt idx="185">
                        <c:v>44017</c:v>
                      </c:pt>
                      <c:pt idx="186">
                        <c:v>44018</c:v>
                      </c:pt>
                      <c:pt idx="187">
                        <c:v>44019</c:v>
                      </c:pt>
                      <c:pt idx="188">
                        <c:v>44020</c:v>
                      </c:pt>
                      <c:pt idx="189">
                        <c:v>44021</c:v>
                      </c:pt>
                      <c:pt idx="190">
                        <c:v>44022</c:v>
                      </c:pt>
                      <c:pt idx="191">
                        <c:v>44023</c:v>
                      </c:pt>
                      <c:pt idx="192">
                        <c:v>44024</c:v>
                      </c:pt>
                      <c:pt idx="193">
                        <c:v>44025</c:v>
                      </c:pt>
                      <c:pt idx="194">
                        <c:v>44026</c:v>
                      </c:pt>
                      <c:pt idx="195">
                        <c:v>44027</c:v>
                      </c:pt>
                      <c:pt idx="196">
                        <c:v>44028</c:v>
                      </c:pt>
                      <c:pt idx="197">
                        <c:v>44029</c:v>
                      </c:pt>
                      <c:pt idx="198">
                        <c:v>44030</c:v>
                      </c:pt>
                      <c:pt idx="199">
                        <c:v>44031</c:v>
                      </c:pt>
                      <c:pt idx="200">
                        <c:v>44032</c:v>
                      </c:pt>
                      <c:pt idx="201">
                        <c:v>44033</c:v>
                      </c:pt>
                      <c:pt idx="202">
                        <c:v>44034</c:v>
                      </c:pt>
                      <c:pt idx="203">
                        <c:v>44035</c:v>
                      </c:pt>
                      <c:pt idx="204">
                        <c:v>44036</c:v>
                      </c:pt>
                      <c:pt idx="205">
                        <c:v>44037</c:v>
                      </c:pt>
                      <c:pt idx="206">
                        <c:v>44038</c:v>
                      </c:pt>
                      <c:pt idx="207">
                        <c:v>44039</c:v>
                      </c:pt>
                      <c:pt idx="208">
                        <c:v>44040</c:v>
                      </c:pt>
                      <c:pt idx="209">
                        <c:v>44041</c:v>
                      </c:pt>
                      <c:pt idx="210">
                        <c:v>44042</c:v>
                      </c:pt>
                      <c:pt idx="211">
                        <c:v>44043</c:v>
                      </c:pt>
                      <c:pt idx="212">
                        <c:v>44044</c:v>
                      </c:pt>
                      <c:pt idx="213">
                        <c:v>44045</c:v>
                      </c:pt>
                      <c:pt idx="214">
                        <c:v>44046</c:v>
                      </c:pt>
                      <c:pt idx="215">
                        <c:v>44047</c:v>
                      </c:pt>
                      <c:pt idx="216">
                        <c:v>44048</c:v>
                      </c:pt>
                      <c:pt idx="217">
                        <c:v>44049</c:v>
                      </c:pt>
                      <c:pt idx="218">
                        <c:v>44050</c:v>
                      </c:pt>
                      <c:pt idx="219">
                        <c:v>44051</c:v>
                      </c:pt>
                      <c:pt idx="220">
                        <c:v>44052</c:v>
                      </c:pt>
                      <c:pt idx="221">
                        <c:v>44053</c:v>
                      </c:pt>
                      <c:pt idx="222">
                        <c:v>44054</c:v>
                      </c:pt>
                      <c:pt idx="223">
                        <c:v>44055</c:v>
                      </c:pt>
                      <c:pt idx="224">
                        <c:v>44056</c:v>
                      </c:pt>
                      <c:pt idx="225">
                        <c:v>44057</c:v>
                      </c:pt>
                      <c:pt idx="226">
                        <c:v>44058</c:v>
                      </c:pt>
                      <c:pt idx="227">
                        <c:v>44059</c:v>
                      </c:pt>
                      <c:pt idx="228">
                        <c:v>44060</c:v>
                      </c:pt>
                      <c:pt idx="229">
                        <c:v>44061</c:v>
                      </c:pt>
                      <c:pt idx="230">
                        <c:v>44062</c:v>
                      </c:pt>
                      <c:pt idx="231">
                        <c:v>44063</c:v>
                      </c:pt>
                      <c:pt idx="232">
                        <c:v>44064</c:v>
                      </c:pt>
                      <c:pt idx="233">
                        <c:v>44065</c:v>
                      </c:pt>
                      <c:pt idx="234">
                        <c:v>44066</c:v>
                      </c:pt>
                      <c:pt idx="235">
                        <c:v>44067</c:v>
                      </c:pt>
                      <c:pt idx="236">
                        <c:v>44068</c:v>
                      </c:pt>
                      <c:pt idx="237">
                        <c:v>44069</c:v>
                      </c:pt>
                      <c:pt idx="238">
                        <c:v>44070</c:v>
                      </c:pt>
                      <c:pt idx="239">
                        <c:v>44071</c:v>
                      </c:pt>
                      <c:pt idx="240">
                        <c:v>44072</c:v>
                      </c:pt>
                      <c:pt idx="241">
                        <c:v>44073</c:v>
                      </c:pt>
                      <c:pt idx="242">
                        <c:v>44074</c:v>
                      </c:pt>
                      <c:pt idx="243">
                        <c:v>44075</c:v>
                      </c:pt>
                      <c:pt idx="244">
                        <c:v>44076</c:v>
                      </c:pt>
                      <c:pt idx="245">
                        <c:v>44077</c:v>
                      </c:pt>
                      <c:pt idx="246">
                        <c:v>44078</c:v>
                      </c:pt>
                      <c:pt idx="247">
                        <c:v>44079</c:v>
                      </c:pt>
                      <c:pt idx="248">
                        <c:v>44080</c:v>
                      </c:pt>
                      <c:pt idx="249">
                        <c:v>44081</c:v>
                      </c:pt>
                      <c:pt idx="250">
                        <c:v>44082</c:v>
                      </c:pt>
                      <c:pt idx="251">
                        <c:v>44083</c:v>
                      </c:pt>
                      <c:pt idx="252">
                        <c:v>44084</c:v>
                      </c:pt>
                      <c:pt idx="253">
                        <c:v>44085</c:v>
                      </c:pt>
                      <c:pt idx="254">
                        <c:v>44086</c:v>
                      </c:pt>
                      <c:pt idx="255">
                        <c:v>44087</c:v>
                      </c:pt>
                      <c:pt idx="256">
                        <c:v>44088</c:v>
                      </c:pt>
                      <c:pt idx="257">
                        <c:v>44089</c:v>
                      </c:pt>
                      <c:pt idx="258">
                        <c:v>44090</c:v>
                      </c:pt>
                      <c:pt idx="259">
                        <c:v>44091</c:v>
                      </c:pt>
                      <c:pt idx="260">
                        <c:v>44092</c:v>
                      </c:pt>
                      <c:pt idx="261">
                        <c:v>44093</c:v>
                      </c:pt>
                      <c:pt idx="262">
                        <c:v>44094</c:v>
                      </c:pt>
                      <c:pt idx="263">
                        <c:v>44095</c:v>
                      </c:pt>
                      <c:pt idx="264">
                        <c:v>44096</c:v>
                      </c:pt>
                      <c:pt idx="265">
                        <c:v>44097</c:v>
                      </c:pt>
                      <c:pt idx="266">
                        <c:v>44098</c:v>
                      </c:pt>
                      <c:pt idx="267">
                        <c:v>44099</c:v>
                      </c:pt>
                      <c:pt idx="268">
                        <c:v>44100</c:v>
                      </c:pt>
                      <c:pt idx="269">
                        <c:v>44101</c:v>
                      </c:pt>
                      <c:pt idx="270">
                        <c:v>44102</c:v>
                      </c:pt>
                      <c:pt idx="271">
                        <c:v>44103</c:v>
                      </c:pt>
                      <c:pt idx="272">
                        <c:v>44104</c:v>
                      </c:pt>
                      <c:pt idx="273">
                        <c:v>44105</c:v>
                      </c:pt>
                      <c:pt idx="274">
                        <c:v>44106</c:v>
                      </c:pt>
                      <c:pt idx="275">
                        <c:v>44107</c:v>
                      </c:pt>
                      <c:pt idx="276">
                        <c:v>44108</c:v>
                      </c:pt>
                      <c:pt idx="277">
                        <c:v>44109</c:v>
                      </c:pt>
                      <c:pt idx="278">
                        <c:v>44110</c:v>
                      </c:pt>
                      <c:pt idx="279">
                        <c:v>44111</c:v>
                      </c:pt>
                      <c:pt idx="280">
                        <c:v>44112</c:v>
                      </c:pt>
                      <c:pt idx="281">
                        <c:v>44113</c:v>
                      </c:pt>
                      <c:pt idx="282">
                        <c:v>44114</c:v>
                      </c:pt>
                      <c:pt idx="283">
                        <c:v>44115</c:v>
                      </c:pt>
                      <c:pt idx="284">
                        <c:v>44116</c:v>
                      </c:pt>
                      <c:pt idx="285">
                        <c:v>44117</c:v>
                      </c:pt>
                      <c:pt idx="286">
                        <c:v>44118</c:v>
                      </c:pt>
                      <c:pt idx="287">
                        <c:v>44119</c:v>
                      </c:pt>
                      <c:pt idx="288">
                        <c:v>44120</c:v>
                      </c:pt>
                      <c:pt idx="289">
                        <c:v>44121</c:v>
                      </c:pt>
                      <c:pt idx="290">
                        <c:v>44122</c:v>
                      </c:pt>
                      <c:pt idx="291">
                        <c:v>44123</c:v>
                      </c:pt>
                      <c:pt idx="292">
                        <c:v>44124</c:v>
                      </c:pt>
                      <c:pt idx="293">
                        <c:v>44125</c:v>
                      </c:pt>
                      <c:pt idx="294">
                        <c:v>44126</c:v>
                      </c:pt>
                      <c:pt idx="295">
                        <c:v>44127</c:v>
                      </c:pt>
                      <c:pt idx="296">
                        <c:v>44128</c:v>
                      </c:pt>
                      <c:pt idx="297">
                        <c:v>44129</c:v>
                      </c:pt>
                      <c:pt idx="298">
                        <c:v>44130</c:v>
                      </c:pt>
                      <c:pt idx="299">
                        <c:v>44131</c:v>
                      </c:pt>
                      <c:pt idx="300">
                        <c:v>44132</c:v>
                      </c:pt>
                      <c:pt idx="301">
                        <c:v>44133</c:v>
                      </c:pt>
                      <c:pt idx="302">
                        <c:v>44134</c:v>
                      </c:pt>
                      <c:pt idx="303">
                        <c:v>44135</c:v>
                      </c:pt>
                    </c:numCache>
                  </c:numRef>
                </c:cat>
                <c:val>
                  <c:numRef>
                    <c:extLst xmlns:c15="http://schemas.microsoft.com/office/drawing/2012/chart">
                      <c:ext xmlns:c15="http://schemas.microsoft.com/office/drawing/2012/chart" uri="{02D57815-91ED-43cb-92C2-25804820EDAC}">
                        <c15:formulaRef>
                          <c15:sqref>FlightTrack!#REF!</c15:sqref>
                        </c15:formulaRef>
                      </c:ext>
                    </c:extLst>
                    <c:numCache>
                      <c:formatCode>General</c:formatCode>
                      <c:ptCount val="1"/>
                      <c:pt idx="0">
                        <c:v>1</c:v>
                      </c:pt>
                    </c:numCache>
                  </c:numRef>
                </c:val>
                <c:smooth val="0"/>
                <c:extLst xmlns:c15="http://schemas.microsoft.com/office/drawing/2012/chart">
                  <c:ext xmlns:c16="http://schemas.microsoft.com/office/drawing/2014/chart" uri="{C3380CC4-5D6E-409C-BE32-E72D297353CC}">
                    <c16:uniqueId val="{00000003-7B4D-461F-89A0-59B01E9201BC}"/>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FlightTrack!#REF!</c15:sqref>
                        </c15:formulaRef>
                      </c:ext>
                    </c:extLst>
                    <c:strCache>
                      <c:ptCount val="1"/>
                      <c:pt idx="0">
                        <c:v>#REF!</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extLst xmlns:c15="http://schemas.microsoft.com/office/drawing/2012/chart">
                      <c:ext xmlns:c15="http://schemas.microsoft.com/office/drawing/2012/chart" uri="{02D57815-91ED-43cb-92C2-25804820EDAC}">
                        <c15:formulaRef>
                          <c15:sqref>FlightTrack!$A$4:$A$307</c15:sqref>
                        </c15:formulaRef>
                      </c:ext>
                    </c:extLst>
                    <c:numCache>
                      <c:formatCode>[$-40C]d\-mmm;@</c:formatCode>
                      <c:ptCount val="304"/>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1</c:v>
                      </c:pt>
                      <c:pt idx="60">
                        <c:v>43892</c:v>
                      </c:pt>
                      <c:pt idx="61">
                        <c:v>43893</c:v>
                      </c:pt>
                      <c:pt idx="62">
                        <c:v>43894</c:v>
                      </c:pt>
                      <c:pt idx="63">
                        <c:v>43895</c:v>
                      </c:pt>
                      <c:pt idx="64">
                        <c:v>43896</c:v>
                      </c:pt>
                      <c:pt idx="65">
                        <c:v>43897</c:v>
                      </c:pt>
                      <c:pt idx="66">
                        <c:v>43898</c:v>
                      </c:pt>
                      <c:pt idx="67">
                        <c:v>43899</c:v>
                      </c:pt>
                      <c:pt idx="68">
                        <c:v>43900</c:v>
                      </c:pt>
                      <c:pt idx="69">
                        <c:v>43901</c:v>
                      </c:pt>
                      <c:pt idx="70">
                        <c:v>43902</c:v>
                      </c:pt>
                      <c:pt idx="71">
                        <c:v>43903</c:v>
                      </c:pt>
                      <c:pt idx="72">
                        <c:v>43904</c:v>
                      </c:pt>
                      <c:pt idx="73">
                        <c:v>43905</c:v>
                      </c:pt>
                      <c:pt idx="74">
                        <c:v>43906</c:v>
                      </c:pt>
                      <c:pt idx="75">
                        <c:v>43907</c:v>
                      </c:pt>
                      <c:pt idx="76">
                        <c:v>43908</c:v>
                      </c:pt>
                      <c:pt idx="77">
                        <c:v>43909</c:v>
                      </c:pt>
                      <c:pt idx="78">
                        <c:v>43910</c:v>
                      </c:pt>
                      <c:pt idx="79">
                        <c:v>43911</c:v>
                      </c:pt>
                      <c:pt idx="80">
                        <c:v>43912</c:v>
                      </c:pt>
                      <c:pt idx="81">
                        <c:v>43913</c:v>
                      </c:pt>
                      <c:pt idx="82">
                        <c:v>43914</c:v>
                      </c:pt>
                      <c:pt idx="83">
                        <c:v>43915</c:v>
                      </c:pt>
                      <c:pt idx="84">
                        <c:v>43916</c:v>
                      </c:pt>
                      <c:pt idx="85">
                        <c:v>43917</c:v>
                      </c:pt>
                      <c:pt idx="86">
                        <c:v>43918</c:v>
                      </c:pt>
                      <c:pt idx="87">
                        <c:v>43919</c:v>
                      </c:pt>
                      <c:pt idx="88">
                        <c:v>43920</c:v>
                      </c:pt>
                      <c:pt idx="89">
                        <c:v>43921</c:v>
                      </c:pt>
                      <c:pt idx="90">
                        <c:v>43922</c:v>
                      </c:pt>
                      <c:pt idx="91">
                        <c:v>43923</c:v>
                      </c:pt>
                      <c:pt idx="92">
                        <c:v>43924</c:v>
                      </c:pt>
                      <c:pt idx="93">
                        <c:v>43925</c:v>
                      </c:pt>
                      <c:pt idx="94">
                        <c:v>43926</c:v>
                      </c:pt>
                      <c:pt idx="95">
                        <c:v>43927</c:v>
                      </c:pt>
                      <c:pt idx="96">
                        <c:v>43928</c:v>
                      </c:pt>
                      <c:pt idx="97">
                        <c:v>43929</c:v>
                      </c:pt>
                      <c:pt idx="98">
                        <c:v>43930</c:v>
                      </c:pt>
                      <c:pt idx="99">
                        <c:v>43931</c:v>
                      </c:pt>
                      <c:pt idx="100">
                        <c:v>43932</c:v>
                      </c:pt>
                      <c:pt idx="101">
                        <c:v>43933</c:v>
                      </c:pt>
                      <c:pt idx="102">
                        <c:v>43934</c:v>
                      </c:pt>
                      <c:pt idx="103">
                        <c:v>43935</c:v>
                      </c:pt>
                      <c:pt idx="104">
                        <c:v>43936</c:v>
                      </c:pt>
                      <c:pt idx="105">
                        <c:v>43937</c:v>
                      </c:pt>
                      <c:pt idx="106">
                        <c:v>43938</c:v>
                      </c:pt>
                      <c:pt idx="107">
                        <c:v>43939</c:v>
                      </c:pt>
                      <c:pt idx="108">
                        <c:v>43940</c:v>
                      </c:pt>
                      <c:pt idx="109">
                        <c:v>43941</c:v>
                      </c:pt>
                      <c:pt idx="110">
                        <c:v>43942</c:v>
                      </c:pt>
                      <c:pt idx="111">
                        <c:v>43943</c:v>
                      </c:pt>
                      <c:pt idx="112">
                        <c:v>43944</c:v>
                      </c:pt>
                      <c:pt idx="113">
                        <c:v>43945</c:v>
                      </c:pt>
                      <c:pt idx="114">
                        <c:v>43946</c:v>
                      </c:pt>
                      <c:pt idx="115">
                        <c:v>43947</c:v>
                      </c:pt>
                      <c:pt idx="116">
                        <c:v>43948</c:v>
                      </c:pt>
                      <c:pt idx="117">
                        <c:v>43949</c:v>
                      </c:pt>
                      <c:pt idx="118">
                        <c:v>43950</c:v>
                      </c:pt>
                      <c:pt idx="119">
                        <c:v>43951</c:v>
                      </c:pt>
                      <c:pt idx="120">
                        <c:v>43952</c:v>
                      </c:pt>
                      <c:pt idx="121">
                        <c:v>43953</c:v>
                      </c:pt>
                      <c:pt idx="122">
                        <c:v>43954</c:v>
                      </c:pt>
                      <c:pt idx="123">
                        <c:v>43955</c:v>
                      </c:pt>
                      <c:pt idx="124">
                        <c:v>43956</c:v>
                      </c:pt>
                      <c:pt idx="125">
                        <c:v>43957</c:v>
                      </c:pt>
                      <c:pt idx="126">
                        <c:v>43958</c:v>
                      </c:pt>
                      <c:pt idx="127">
                        <c:v>43959</c:v>
                      </c:pt>
                      <c:pt idx="128">
                        <c:v>43960</c:v>
                      </c:pt>
                      <c:pt idx="129">
                        <c:v>43961</c:v>
                      </c:pt>
                      <c:pt idx="130">
                        <c:v>43962</c:v>
                      </c:pt>
                      <c:pt idx="131">
                        <c:v>43963</c:v>
                      </c:pt>
                      <c:pt idx="132">
                        <c:v>43964</c:v>
                      </c:pt>
                      <c:pt idx="133">
                        <c:v>43965</c:v>
                      </c:pt>
                      <c:pt idx="134">
                        <c:v>43966</c:v>
                      </c:pt>
                      <c:pt idx="135">
                        <c:v>43967</c:v>
                      </c:pt>
                      <c:pt idx="136">
                        <c:v>43968</c:v>
                      </c:pt>
                      <c:pt idx="137">
                        <c:v>43969</c:v>
                      </c:pt>
                      <c:pt idx="138">
                        <c:v>43970</c:v>
                      </c:pt>
                      <c:pt idx="139">
                        <c:v>43971</c:v>
                      </c:pt>
                      <c:pt idx="140">
                        <c:v>43972</c:v>
                      </c:pt>
                      <c:pt idx="141">
                        <c:v>43973</c:v>
                      </c:pt>
                      <c:pt idx="142">
                        <c:v>43974</c:v>
                      </c:pt>
                      <c:pt idx="143">
                        <c:v>43975</c:v>
                      </c:pt>
                      <c:pt idx="144">
                        <c:v>43976</c:v>
                      </c:pt>
                      <c:pt idx="145">
                        <c:v>43977</c:v>
                      </c:pt>
                      <c:pt idx="146">
                        <c:v>43978</c:v>
                      </c:pt>
                      <c:pt idx="147">
                        <c:v>43979</c:v>
                      </c:pt>
                      <c:pt idx="148">
                        <c:v>43980</c:v>
                      </c:pt>
                      <c:pt idx="149">
                        <c:v>43981</c:v>
                      </c:pt>
                      <c:pt idx="150">
                        <c:v>43982</c:v>
                      </c:pt>
                      <c:pt idx="151">
                        <c:v>43983</c:v>
                      </c:pt>
                      <c:pt idx="152">
                        <c:v>43984</c:v>
                      </c:pt>
                      <c:pt idx="153">
                        <c:v>43985</c:v>
                      </c:pt>
                      <c:pt idx="154">
                        <c:v>43986</c:v>
                      </c:pt>
                      <c:pt idx="155">
                        <c:v>43987</c:v>
                      </c:pt>
                      <c:pt idx="156">
                        <c:v>43988</c:v>
                      </c:pt>
                      <c:pt idx="157">
                        <c:v>43989</c:v>
                      </c:pt>
                      <c:pt idx="158">
                        <c:v>43990</c:v>
                      </c:pt>
                      <c:pt idx="159">
                        <c:v>43991</c:v>
                      </c:pt>
                      <c:pt idx="160">
                        <c:v>43992</c:v>
                      </c:pt>
                      <c:pt idx="161">
                        <c:v>43993</c:v>
                      </c:pt>
                      <c:pt idx="162">
                        <c:v>43994</c:v>
                      </c:pt>
                      <c:pt idx="163">
                        <c:v>43995</c:v>
                      </c:pt>
                      <c:pt idx="164">
                        <c:v>43996</c:v>
                      </c:pt>
                      <c:pt idx="165">
                        <c:v>43997</c:v>
                      </c:pt>
                      <c:pt idx="166">
                        <c:v>43998</c:v>
                      </c:pt>
                      <c:pt idx="167">
                        <c:v>43999</c:v>
                      </c:pt>
                      <c:pt idx="168">
                        <c:v>44000</c:v>
                      </c:pt>
                      <c:pt idx="169">
                        <c:v>44001</c:v>
                      </c:pt>
                      <c:pt idx="170">
                        <c:v>44002</c:v>
                      </c:pt>
                      <c:pt idx="171">
                        <c:v>44003</c:v>
                      </c:pt>
                      <c:pt idx="172">
                        <c:v>44004</c:v>
                      </c:pt>
                      <c:pt idx="173">
                        <c:v>44005</c:v>
                      </c:pt>
                      <c:pt idx="174">
                        <c:v>44006</c:v>
                      </c:pt>
                      <c:pt idx="175">
                        <c:v>44007</c:v>
                      </c:pt>
                      <c:pt idx="176">
                        <c:v>44008</c:v>
                      </c:pt>
                      <c:pt idx="177">
                        <c:v>44009</c:v>
                      </c:pt>
                      <c:pt idx="178">
                        <c:v>44010</c:v>
                      </c:pt>
                      <c:pt idx="179">
                        <c:v>44011</c:v>
                      </c:pt>
                      <c:pt idx="180">
                        <c:v>44012</c:v>
                      </c:pt>
                      <c:pt idx="181">
                        <c:v>44013</c:v>
                      </c:pt>
                      <c:pt idx="182">
                        <c:v>44014</c:v>
                      </c:pt>
                      <c:pt idx="183">
                        <c:v>44015</c:v>
                      </c:pt>
                      <c:pt idx="184">
                        <c:v>44016</c:v>
                      </c:pt>
                      <c:pt idx="185">
                        <c:v>44017</c:v>
                      </c:pt>
                      <c:pt idx="186">
                        <c:v>44018</c:v>
                      </c:pt>
                      <c:pt idx="187">
                        <c:v>44019</c:v>
                      </c:pt>
                      <c:pt idx="188">
                        <c:v>44020</c:v>
                      </c:pt>
                      <c:pt idx="189">
                        <c:v>44021</c:v>
                      </c:pt>
                      <c:pt idx="190">
                        <c:v>44022</c:v>
                      </c:pt>
                      <c:pt idx="191">
                        <c:v>44023</c:v>
                      </c:pt>
                      <c:pt idx="192">
                        <c:v>44024</c:v>
                      </c:pt>
                      <c:pt idx="193">
                        <c:v>44025</c:v>
                      </c:pt>
                      <c:pt idx="194">
                        <c:v>44026</c:v>
                      </c:pt>
                      <c:pt idx="195">
                        <c:v>44027</c:v>
                      </c:pt>
                      <c:pt idx="196">
                        <c:v>44028</c:v>
                      </c:pt>
                      <c:pt idx="197">
                        <c:v>44029</c:v>
                      </c:pt>
                      <c:pt idx="198">
                        <c:v>44030</c:v>
                      </c:pt>
                      <c:pt idx="199">
                        <c:v>44031</c:v>
                      </c:pt>
                      <c:pt idx="200">
                        <c:v>44032</c:v>
                      </c:pt>
                      <c:pt idx="201">
                        <c:v>44033</c:v>
                      </c:pt>
                      <c:pt idx="202">
                        <c:v>44034</c:v>
                      </c:pt>
                      <c:pt idx="203">
                        <c:v>44035</c:v>
                      </c:pt>
                      <c:pt idx="204">
                        <c:v>44036</c:v>
                      </c:pt>
                      <c:pt idx="205">
                        <c:v>44037</c:v>
                      </c:pt>
                      <c:pt idx="206">
                        <c:v>44038</c:v>
                      </c:pt>
                      <c:pt idx="207">
                        <c:v>44039</c:v>
                      </c:pt>
                      <c:pt idx="208">
                        <c:v>44040</c:v>
                      </c:pt>
                      <c:pt idx="209">
                        <c:v>44041</c:v>
                      </c:pt>
                      <c:pt idx="210">
                        <c:v>44042</c:v>
                      </c:pt>
                      <c:pt idx="211">
                        <c:v>44043</c:v>
                      </c:pt>
                      <c:pt idx="212">
                        <c:v>44044</c:v>
                      </c:pt>
                      <c:pt idx="213">
                        <c:v>44045</c:v>
                      </c:pt>
                      <c:pt idx="214">
                        <c:v>44046</c:v>
                      </c:pt>
                      <c:pt idx="215">
                        <c:v>44047</c:v>
                      </c:pt>
                      <c:pt idx="216">
                        <c:v>44048</c:v>
                      </c:pt>
                      <c:pt idx="217">
                        <c:v>44049</c:v>
                      </c:pt>
                      <c:pt idx="218">
                        <c:v>44050</c:v>
                      </c:pt>
                      <c:pt idx="219">
                        <c:v>44051</c:v>
                      </c:pt>
                      <c:pt idx="220">
                        <c:v>44052</c:v>
                      </c:pt>
                      <c:pt idx="221">
                        <c:v>44053</c:v>
                      </c:pt>
                      <c:pt idx="222">
                        <c:v>44054</c:v>
                      </c:pt>
                      <c:pt idx="223">
                        <c:v>44055</c:v>
                      </c:pt>
                      <c:pt idx="224">
                        <c:v>44056</c:v>
                      </c:pt>
                      <c:pt idx="225">
                        <c:v>44057</c:v>
                      </c:pt>
                      <c:pt idx="226">
                        <c:v>44058</c:v>
                      </c:pt>
                      <c:pt idx="227">
                        <c:v>44059</c:v>
                      </c:pt>
                      <c:pt idx="228">
                        <c:v>44060</c:v>
                      </c:pt>
                      <c:pt idx="229">
                        <c:v>44061</c:v>
                      </c:pt>
                      <c:pt idx="230">
                        <c:v>44062</c:v>
                      </c:pt>
                      <c:pt idx="231">
                        <c:v>44063</c:v>
                      </c:pt>
                      <c:pt idx="232">
                        <c:v>44064</c:v>
                      </c:pt>
                      <c:pt idx="233">
                        <c:v>44065</c:v>
                      </c:pt>
                      <c:pt idx="234">
                        <c:v>44066</c:v>
                      </c:pt>
                      <c:pt idx="235">
                        <c:v>44067</c:v>
                      </c:pt>
                      <c:pt idx="236">
                        <c:v>44068</c:v>
                      </c:pt>
                      <c:pt idx="237">
                        <c:v>44069</c:v>
                      </c:pt>
                      <c:pt idx="238">
                        <c:v>44070</c:v>
                      </c:pt>
                      <c:pt idx="239">
                        <c:v>44071</c:v>
                      </c:pt>
                      <c:pt idx="240">
                        <c:v>44072</c:v>
                      </c:pt>
                      <c:pt idx="241">
                        <c:v>44073</c:v>
                      </c:pt>
                      <c:pt idx="242">
                        <c:v>44074</c:v>
                      </c:pt>
                      <c:pt idx="243">
                        <c:v>44075</c:v>
                      </c:pt>
                      <c:pt idx="244">
                        <c:v>44076</c:v>
                      </c:pt>
                      <c:pt idx="245">
                        <c:v>44077</c:v>
                      </c:pt>
                      <c:pt idx="246">
                        <c:v>44078</c:v>
                      </c:pt>
                      <c:pt idx="247">
                        <c:v>44079</c:v>
                      </c:pt>
                      <c:pt idx="248">
                        <c:v>44080</c:v>
                      </c:pt>
                      <c:pt idx="249">
                        <c:v>44081</c:v>
                      </c:pt>
                      <c:pt idx="250">
                        <c:v>44082</c:v>
                      </c:pt>
                      <c:pt idx="251">
                        <c:v>44083</c:v>
                      </c:pt>
                      <c:pt idx="252">
                        <c:v>44084</c:v>
                      </c:pt>
                      <c:pt idx="253">
                        <c:v>44085</c:v>
                      </c:pt>
                      <c:pt idx="254">
                        <c:v>44086</c:v>
                      </c:pt>
                      <c:pt idx="255">
                        <c:v>44087</c:v>
                      </c:pt>
                      <c:pt idx="256">
                        <c:v>44088</c:v>
                      </c:pt>
                      <c:pt idx="257">
                        <c:v>44089</c:v>
                      </c:pt>
                      <c:pt idx="258">
                        <c:v>44090</c:v>
                      </c:pt>
                      <c:pt idx="259">
                        <c:v>44091</c:v>
                      </c:pt>
                      <c:pt idx="260">
                        <c:v>44092</c:v>
                      </c:pt>
                      <c:pt idx="261">
                        <c:v>44093</c:v>
                      </c:pt>
                      <c:pt idx="262">
                        <c:v>44094</c:v>
                      </c:pt>
                      <c:pt idx="263">
                        <c:v>44095</c:v>
                      </c:pt>
                      <c:pt idx="264">
                        <c:v>44096</c:v>
                      </c:pt>
                      <c:pt idx="265">
                        <c:v>44097</c:v>
                      </c:pt>
                      <c:pt idx="266">
                        <c:v>44098</c:v>
                      </c:pt>
                      <c:pt idx="267">
                        <c:v>44099</c:v>
                      </c:pt>
                      <c:pt idx="268">
                        <c:v>44100</c:v>
                      </c:pt>
                      <c:pt idx="269">
                        <c:v>44101</c:v>
                      </c:pt>
                      <c:pt idx="270">
                        <c:v>44102</c:v>
                      </c:pt>
                      <c:pt idx="271">
                        <c:v>44103</c:v>
                      </c:pt>
                      <c:pt idx="272">
                        <c:v>44104</c:v>
                      </c:pt>
                      <c:pt idx="273">
                        <c:v>44105</c:v>
                      </c:pt>
                      <c:pt idx="274">
                        <c:v>44106</c:v>
                      </c:pt>
                      <c:pt idx="275">
                        <c:v>44107</c:v>
                      </c:pt>
                      <c:pt idx="276">
                        <c:v>44108</c:v>
                      </c:pt>
                      <c:pt idx="277">
                        <c:v>44109</c:v>
                      </c:pt>
                      <c:pt idx="278">
                        <c:v>44110</c:v>
                      </c:pt>
                      <c:pt idx="279">
                        <c:v>44111</c:v>
                      </c:pt>
                      <c:pt idx="280">
                        <c:v>44112</c:v>
                      </c:pt>
                      <c:pt idx="281">
                        <c:v>44113</c:v>
                      </c:pt>
                      <c:pt idx="282">
                        <c:v>44114</c:v>
                      </c:pt>
                      <c:pt idx="283">
                        <c:v>44115</c:v>
                      </c:pt>
                      <c:pt idx="284">
                        <c:v>44116</c:v>
                      </c:pt>
                      <c:pt idx="285">
                        <c:v>44117</c:v>
                      </c:pt>
                      <c:pt idx="286">
                        <c:v>44118</c:v>
                      </c:pt>
                      <c:pt idx="287">
                        <c:v>44119</c:v>
                      </c:pt>
                      <c:pt idx="288">
                        <c:v>44120</c:v>
                      </c:pt>
                      <c:pt idx="289">
                        <c:v>44121</c:v>
                      </c:pt>
                      <c:pt idx="290">
                        <c:v>44122</c:v>
                      </c:pt>
                      <c:pt idx="291">
                        <c:v>44123</c:v>
                      </c:pt>
                      <c:pt idx="292">
                        <c:v>44124</c:v>
                      </c:pt>
                      <c:pt idx="293">
                        <c:v>44125</c:v>
                      </c:pt>
                      <c:pt idx="294">
                        <c:v>44126</c:v>
                      </c:pt>
                      <c:pt idx="295">
                        <c:v>44127</c:v>
                      </c:pt>
                      <c:pt idx="296">
                        <c:v>44128</c:v>
                      </c:pt>
                      <c:pt idx="297">
                        <c:v>44129</c:v>
                      </c:pt>
                      <c:pt idx="298">
                        <c:v>44130</c:v>
                      </c:pt>
                      <c:pt idx="299">
                        <c:v>44131</c:v>
                      </c:pt>
                      <c:pt idx="300">
                        <c:v>44132</c:v>
                      </c:pt>
                      <c:pt idx="301">
                        <c:v>44133</c:v>
                      </c:pt>
                      <c:pt idx="302">
                        <c:v>44134</c:v>
                      </c:pt>
                      <c:pt idx="303">
                        <c:v>44135</c:v>
                      </c:pt>
                    </c:numCache>
                  </c:numRef>
                </c:cat>
                <c:val>
                  <c:numRef>
                    <c:extLst xmlns:c15="http://schemas.microsoft.com/office/drawing/2012/chart">
                      <c:ext xmlns:c15="http://schemas.microsoft.com/office/drawing/2012/chart" uri="{02D57815-91ED-43cb-92C2-25804820EDAC}">
                        <c15:formulaRef>
                          <c15:sqref>FlightTrack!#REF!</c15:sqref>
                        </c15:formulaRef>
                      </c:ext>
                    </c:extLst>
                    <c:numCache>
                      <c:formatCode>General</c:formatCode>
                      <c:ptCount val="1"/>
                      <c:pt idx="0">
                        <c:v>1</c:v>
                      </c:pt>
                    </c:numCache>
                  </c:numRef>
                </c:val>
                <c:smooth val="0"/>
                <c:extLst xmlns:c15="http://schemas.microsoft.com/office/drawing/2012/chart">
                  <c:ext xmlns:c16="http://schemas.microsoft.com/office/drawing/2014/chart" uri="{C3380CC4-5D6E-409C-BE32-E72D297353CC}">
                    <c16:uniqueId val="{00000004-7B4D-461F-89A0-59B01E9201BC}"/>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FlightTrack!#REF!</c15:sqref>
                        </c15:formulaRef>
                      </c:ext>
                    </c:extLst>
                    <c:strCache>
                      <c:ptCount val="1"/>
                      <c:pt idx="0">
                        <c:v>#REF!</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extLst xmlns:c15="http://schemas.microsoft.com/office/drawing/2012/chart">
                      <c:ext xmlns:c15="http://schemas.microsoft.com/office/drawing/2012/chart" uri="{02D57815-91ED-43cb-92C2-25804820EDAC}">
                        <c15:formulaRef>
                          <c15:sqref>FlightTrack!$A$4:$A$307</c15:sqref>
                        </c15:formulaRef>
                      </c:ext>
                    </c:extLst>
                    <c:numCache>
                      <c:formatCode>[$-40C]d\-mmm;@</c:formatCode>
                      <c:ptCount val="304"/>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1</c:v>
                      </c:pt>
                      <c:pt idx="60">
                        <c:v>43892</c:v>
                      </c:pt>
                      <c:pt idx="61">
                        <c:v>43893</c:v>
                      </c:pt>
                      <c:pt idx="62">
                        <c:v>43894</c:v>
                      </c:pt>
                      <c:pt idx="63">
                        <c:v>43895</c:v>
                      </c:pt>
                      <c:pt idx="64">
                        <c:v>43896</c:v>
                      </c:pt>
                      <c:pt idx="65">
                        <c:v>43897</c:v>
                      </c:pt>
                      <c:pt idx="66">
                        <c:v>43898</c:v>
                      </c:pt>
                      <c:pt idx="67">
                        <c:v>43899</c:v>
                      </c:pt>
                      <c:pt idx="68">
                        <c:v>43900</c:v>
                      </c:pt>
                      <c:pt idx="69">
                        <c:v>43901</c:v>
                      </c:pt>
                      <c:pt idx="70">
                        <c:v>43902</c:v>
                      </c:pt>
                      <c:pt idx="71">
                        <c:v>43903</c:v>
                      </c:pt>
                      <c:pt idx="72">
                        <c:v>43904</c:v>
                      </c:pt>
                      <c:pt idx="73">
                        <c:v>43905</c:v>
                      </c:pt>
                      <c:pt idx="74">
                        <c:v>43906</c:v>
                      </c:pt>
                      <c:pt idx="75">
                        <c:v>43907</c:v>
                      </c:pt>
                      <c:pt idx="76">
                        <c:v>43908</c:v>
                      </c:pt>
                      <c:pt idx="77">
                        <c:v>43909</c:v>
                      </c:pt>
                      <c:pt idx="78">
                        <c:v>43910</c:v>
                      </c:pt>
                      <c:pt idx="79">
                        <c:v>43911</c:v>
                      </c:pt>
                      <c:pt idx="80">
                        <c:v>43912</c:v>
                      </c:pt>
                      <c:pt idx="81">
                        <c:v>43913</c:v>
                      </c:pt>
                      <c:pt idx="82">
                        <c:v>43914</c:v>
                      </c:pt>
                      <c:pt idx="83">
                        <c:v>43915</c:v>
                      </c:pt>
                      <c:pt idx="84">
                        <c:v>43916</c:v>
                      </c:pt>
                      <c:pt idx="85">
                        <c:v>43917</c:v>
                      </c:pt>
                      <c:pt idx="86">
                        <c:v>43918</c:v>
                      </c:pt>
                      <c:pt idx="87">
                        <c:v>43919</c:v>
                      </c:pt>
                      <c:pt idx="88">
                        <c:v>43920</c:v>
                      </c:pt>
                      <c:pt idx="89">
                        <c:v>43921</c:v>
                      </c:pt>
                      <c:pt idx="90">
                        <c:v>43922</c:v>
                      </c:pt>
                      <c:pt idx="91">
                        <c:v>43923</c:v>
                      </c:pt>
                      <c:pt idx="92">
                        <c:v>43924</c:v>
                      </c:pt>
                      <c:pt idx="93">
                        <c:v>43925</c:v>
                      </c:pt>
                      <c:pt idx="94">
                        <c:v>43926</c:v>
                      </c:pt>
                      <c:pt idx="95">
                        <c:v>43927</c:v>
                      </c:pt>
                      <c:pt idx="96">
                        <c:v>43928</c:v>
                      </c:pt>
                      <c:pt idx="97">
                        <c:v>43929</c:v>
                      </c:pt>
                      <c:pt idx="98">
                        <c:v>43930</c:v>
                      </c:pt>
                      <c:pt idx="99">
                        <c:v>43931</c:v>
                      </c:pt>
                      <c:pt idx="100">
                        <c:v>43932</c:v>
                      </c:pt>
                      <c:pt idx="101">
                        <c:v>43933</c:v>
                      </c:pt>
                      <c:pt idx="102">
                        <c:v>43934</c:v>
                      </c:pt>
                      <c:pt idx="103">
                        <c:v>43935</c:v>
                      </c:pt>
                      <c:pt idx="104">
                        <c:v>43936</c:v>
                      </c:pt>
                      <c:pt idx="105">
                        <c:v>43937</c:v>
                      </c:pt>
                      <c:pt idx="106">
                        <c:v>43938</c:v>
                      </c:pt>
                      <c:pt idx="107">
                        <c:v>43939</c:v>
                      </c:pt>
                      <c:pt idx="108">
                        <c:v>43940</c:v>
                      </c:pt>
                      <c:pt idx="109">
                        <c:v>43941</c:v>
                      </c:pt>
                      <c:pt idx="110">
                        <c:v>43942</c:v>
                      </c:pt>
                      <c:pt idx="111">
                        <c:v>43943</c:v>
                      </c:pt>
                      <c:pt idx="112">
                        <c:v>43944</c:v>
                      </c:pt>
                      <c:pt idx="113">
                        <c:v>43945</c:v>
                      </c:pt>
                      <c:pt idx="114">
                        <c:v>43946</c:v>
                      </c:pt>
                      <c:pt idx="115">
                        <c:v>43947</c:v>
                      </c:pt>
                      <c:pt idx="116">
                        <c:v>43948</c:v>
                      </c:pt>
                      <c:pt idx="117">
                        <c:v>43949</c:v>
                      </c:pt>
                      <c:pt idx="118">
                        <c:v>43950</c:v>
                      </c:pt>
                      <c:pt idx="119">
                        <c:v>43951</c:v>
                      </c:pt>
                      <c:pt idx="120">
                        <c:v>43952</c:v>
                      </c:pt>
                      <c:pt idx="121">
                        <c:v>43953</c:v>
                      </c:pt>
                      <c:pt idx="122">
                        <c:v>43954</c:v>
                      </c:pt>
                      <c:pt idx="123">
                        <c:v>43955</c:v>
                      </c:pt>
                      <c:pt idx="124">
                        <c:v>43956</c:v>
                      </c:pt>
                      <c:pt idx="125">
                        <c:v>43957</c:v>
                      </c:pt>
                      <c:pt idx="126">
                        <c:v>43958</c:v>
                      </c:pt>
                      <c:pt idx="127">
                        <c:v>43959</c:v>
                      </c:pt>
                      <c:pt idx="128">
                        <c:v>43960</c:v>
                      </c:pt>
                      <c:pt idx="129">
                        <c:v>43961</c:v>
                      </c:pt>
                      <c:pt idx="130">
                        <c:v>43962</c:v>
                      </c:pt>
                      <c:pt idx="131">
                        <c:v>43963</c:v>
                      </c:pt>
                      <c:pt idx="132">
                        <c:v>43964</c:v>
                      </c:pt>
                      <c:pt idx="133">
                        <c:v>43965</c:v>
                      </c:pt>
                      <c:pt idx="134">
                        <c:v>43966</c:v>
                      </c:pt>
                      <c:pt idx="135">
                        <c:v>43967</c:v>
                      </c:pt>
                      <c:pt idx="136">
                        <c:v>43968</c:v>
                      </c:pt>
                      <c:pt idx="137">
                        <c:v>43969</c:v>
                      </c:pt>
                      <c:pt idx="138">
                        <c:v>43970</c:v>
                      </c:pt>
                      <c:pt idx="139">
                        <c:v>43971</c:v>
                      </c:pt>
                      <c:pt idx="140">
                        <c:v>43972</c:v>
                      </c:pt>
                      <c:pt idx="141">
                        <c:v>43973</c:v>
                      </c:pt>
                      <c:pt idx="142">
                        <c:v>43974</c:v>
                      </c:pt>
                      <c:pt idx="143">
                        <c:v>43975</c:v>
                      </c:pt>
                      <c:pt idx="144">
                        <c:v>43976</c:v>
                      </c:pt>
                      <c:pt idx="145">
                        <c:v>43977</c:v>
                      </c:pt>
                      <c:pt idx="146">
                        <c:v>43978</c:v>
                      </c:pt>
                      <c:pt idx="147">
                        <c:v>43979</c:v>
                      </c:pt>
                      <c:pt idx="148">
                        <c:v>43980</c:v>
                      </c:pt>
                      <c:pt idx="149">
                        <c:v>43981</c:v>
                      </c:pt>
                      <c:pt idx="150">
                        <c:v>43982</c:v>
                      </c:pt>
                      <c:pt idx="151">
                        <c:v>43983</c:v>
                      </c:pt>
                      <c:pt idx="152">
                        <c:v>43984</c:v>
                      </c:pt>
                      <c:pt idx="153">
                        <c:v>43985</c:v>
                      </c:pt>
                      <c:pt idx="154">
                        <c:v>43986</c:v>
                      </c:pt>
                      <c:pt idx="155">
                        <c:v>43987</c:v>
                      </c:pt>
                      <c:pt idx="156">
                        <c:v>43988</c:v>
                      </c:pt>
                      <c:pt idx="157">
                        <c:v>43989</c:v>
                      </c:pt>
                      <c:pt idx="158">
                        <c:v>43990</c:v>
                      </c:pt>
                      <c:pt idx="159">
                        <c:v>43991</c:v>
                      </c:pt>
                      <c:pt idx="160">
                        <c:v>43992</c:v>
                      </c:pt>
                      <c:pt idx="161">
                        <c:v>43993</c:v>
                      </c:pt>
                      <c:pt idx="162">
                        <c:v>43994</c:v>
                      </c:pt>
                      <c:pt idx="163">
                        <c:v>43995</c:v>
                      </c:pt>
                      <c:pt idx="164">
                        <c:v>43996</c:v>
                      </c:pt>
                      <c:pt idx="165">
                        <c:v>43997</c:v>
                      </c:pt>
                      <c:pt idx="166">
                        <c:v>43998</c:v>
                      </c:pt>
                      <c:pt idx="167">
                        <c:v>43999</c:v>
                      </c:pt>
                      <c:pt idx="168">
                        <c:v>44000</c:v>
                      </c:pt>
                      <c:pt idx="169">
                        <c:v>44001</c:v>
                      </c:pt>
                      <c:pt idx="170">
                        <c:v>44002</c:v>
                      </c:pt>
                      <c:pt idx="171">
                        <c:v>44003</c:v>
                      </c:pt>
                      <c:pt idx="172">
                        <c:v>44004</c:v>
                      </c:pt>
                      <c:pt idx="173">
                        <c:v>44005</c:v>
                      </c:pt>
                      <c:pt idx="174">
                        <c:v>44006</c:v>
                      </c:pt>
                      <c:pt idx="175">
                        <c:v>44007</c:v>
                      </c:pt>
                      <c:pt idx="176">
                        <c:v>44008</c:v>
                      </c:pt>
                      <c:pt idx="177">
                        <c:v>44009</c:v>
                      </c:pt>
                      <c:pt idx="178">
                        <c:v>44010</c:v>
                      </c:pt>
                      <c:pt idx="179">
                        <c:v>44011</c:v>
                      </c:pt>
                      <c:pt idx="180">
                        <c:v>44012</c:v>
                      </c:pt>
                      <c:pt idx="181">
                        <c:v>44013</c:v>
                      </c:pt>
                      <c:pt idx="182">
                        <c:v>44014</c:v>
                      </c:pt>
                      <c:pt idx="183">
                        <c:v>44015</c:v>
                      </c:pt>
                      <c:pt idx="184">
                        <c:v>44016</c:v>
                      </c:pt>
                      <c:pt idx="185">
                        <c:v>44017</c:v>
                      </c:pt>
                      <c:pt idx="186">
                        <c:v>44018</c:v>
                      </c:pt>
                      <c:pt idx="187">
                        <c:v>44019</c:v>
                      </c:pt>
                      <c:pt idx="188">
                        <c:v>44020</c:v>
                      </c:pt>
                      <c:pt idx="189">
                        <c:v>44021</c:v>
                      </c:pt>
                      <c:pt idx="190">
                        <c:v>44022</c:v>
                      </c:pt>
                      <c:pt idx="191">
                        <c:v>44023</c:v>
                      </c:pt>
                      <c:pt idx="192">
                        <c:v>44024</c:v>
                      </c:pt>
                      <c:pt idx="193">
                        <c:v>44025</c:v>
                      </c:pt>
                      <c:pt idx="194">
                        <c:v>44026</c:v>
                      </c:pt>
                      <c:pt idx="195">
                        <c:v>44027</c:v>
                      </c:pt>
                      <c:pt idx="196">
                        <c:v>44028</c:v>
                      </c:pt>
                      <c:pt idx="197">
                        <c:v>44029</c:v>
                      </c:pt>
                      <c:pt idx="198">
                        <c:v>44030</c:v>
                      </c:pt>
                      <c:pt idx="199">
                        <c:v>44031</c:v>
                      </c:pt>
                      <c:pt idx="200">
                        <c:v>44032</c:v>
                      </c:pt>
                      <c:pt idx="201">
                        <c:v>44033</c:v>
                      </c:pt>
                      <c:pt idx="202">
                        <c:v>44034</c:v>
                      </c:pt>
                      <c:pt idx="203">
                        <c:v>44035</c:v>
                      </c:pt>
                      <c:pt idx="204">
                        <c:v>44036</c:v>
                      </c:pt>
                      <c:pt idx="205">
                        <c:v>44037</c:v>
                      </c:pt>
                      <c:pt idx="206">
                        <c:v>44038</c:v>
                      </c:pt>
                      <c:pt idx="207">
                        <c:v>44039</c:v>
                      </c:pt>
                      <c:pt idx="208">
                        <c:v>44040</c:v>
                      </c:pt>
                      <c:pt idx="209">
                        <c:v>44041</c:v>
                      </c:pt>
                      <c:pt idx="210">
                        <c:v>44042</c:v>
                      </c:pt>
                      <c:pt idx="211">
                        <c:v>44043</c:v>
                      </c:pt>
                      <c:pt idx="212">
                        <c:v>44044</c:v>
                      </c:pt>
                      <c:pt idx="213">
                        <c:v>44045</c:v>
                      </c:pt>
                      <c:pt idx="214">
                        <c:v>44046</c:v>
                      </c:pt>
                      <c:pt idx="215">
                        <c:v>44047</c:v>
                      </c:pt>
                      <c:pt idx="216">
                        <c:v>44048</c:v>
                      </c:pt>
                      <c:pt idx="217">
                        <c:v>44049</c:v>
                      </c:pt>
                      <c:pt idx="218">
                        <c:v>44050</c:v>
                      </c:pt>
                      <c:pt idx="219">
                        <c:v>44051</c:v>
                      </c:pt>
                      <c:pt idx="220">
                        <c:v>44052</c:v>
                      </c:pt>
                      <c:pt idx="221">
                        <c:v>44053</c:v>
                      </c:pt>
                      <c:pt idx="222">
                        <c:v>44054</c:v>
                      </c:pt>
                      <c:pt idx="223">
                        <c:v>44055</c:v>
                      </c:pt>
                      <c:pt idx="224">
                        <c:v>44056</c:v>
                      </c:pt>
                      <c:pt idx="225">
                        <c:v>44057</c:v>
                      </c:pt>
                      <c:pt idx="226">
                        <c:v>44058</c:v>
                      </c:pt>
                      <c:pt idx="227">
                        <c:v>44059</c:v>
                      </c:pt>
                      <c:pt idx="228">
                        <c:v>44060</c:v>
                      </c:pt>
                      <c:pt idx="229">
                        <c:v>44061</c:v>
                      </c:pt>
                      <c:pt idx="230">
                        <c:v>44062</c:v>
                      </c:pt>
                      <c:pt idx="231">
                        <c:v>44063</c:v>
                      </c:pt>
                      <c:pt idx="232">
                        <c:v>44064</c:v>
                      </c:pt>
                      <c:pt idx="233">
                        <c:v>44065</c:v>
                      </c:pt>
                      <c:pt idx="234">
                        <c:v>44066</c:v>
                      </c:pt>
                      <c:pt idx="235">
                        <c:v>44067</c:v>
                      </c:pt>
                      <c:pt idx="236">
                        <c:v>44068</c:v>
                      </c:pt>
                      <c:pt idx="237">
                        <c:v>44069</c:v>
                      </c:pt>
                      <c:pt idx="238">
                        <c:v>44070</c:v>
                      </c:pt>
                      <c:pt idx="239">
                        <c:v>44071</c:v>
                      </c:pt>
                      <c:pt idx="240">
                        <c:v>44072</c:v>
                      </c:pt>
                      <c:pt idx="241">
                        <c:v>44073</c:v>
                      </c:pt>
                      <c:pt idx="242">
                        <c:v>44074</c:v>
                      </c:pt>
                      <c:pt idx="243">
                        <c:v>44075</c:v>
                      </c:pt>
                      <c:pt idx="244">
                        <c:v>44076</c:v>
                      </c:pt>
                      <c:pt idx="245">
                        <c:v>44077</c:v>
                      </c:pt>
                      <c:pt idx="246">
                        <c:v>44078</c:v>
                      </c:pt>
                      <c:pt idx="247">
                        <c:v>44079</c:v>
                      </c:pt>
                      <c:pt idx="248">
                        <c:v>44080</c:v>
                      </c:pt>
                      <c:pt idx="249">
                        <c:v>44081</c:v>
                      </c:pt>
                      <c:pt idx="250">
                        <c:v>44082</c:v>
                      </c:pt>
                      <c:pt idx="251">
                        <c:v>44083</c:v>
                      </c:pt>
                      <c:pt idx="252">
                        <c:v>44084</c:v>
                      </c:pt>
                      <c:pt idx="253">
                        <c:v>44085</c:v>
                      </c:pt>
                      <c:pt idx="254">
                        <c:v>44086</c:v>
                      </c:pt>
                      <c:pt idx="255">
                        <c:v>44087</c:v>
                      </c:pt>
                      <c:pt idx="256">
                        <c:v>44088</c:v>
                      </c:pt>
                      <c:pt idx="257">
                        <c:v>44089</c:v>
                      </c:pt>
                      <c:pt idx="258">
                        <c:v>44090</c:v>
                      </c:pt>
                      <c:pt idx="259">
                        <c:v>44091</c:v>
                      </c:pt>
                      <c:pt idx="260">
                        <c:v>44092</c:v>
                      </c:pt>
                      <c:pt idx="261">
                        <c:v>44093</c:v>
                      </c:pt>
                      <c:pt idx="262">
                        <c:v>44094</c:v>
                      </c:pt>
                      <c:pt idx="263">
                        <c:v>44095</c:v>
                      </c:pt>
                      <c:pt idx="264">
                        <c:v>44096</c:v>
                      </c:pt>
                      <c:pt idx="265">
                        <c:v>44097</c:v>
                      </c:pt>
                      <c:pt idx="266">
                        <c:v>44098</c:v>
                      </c:pt>
                      <c:pt idx="267">
                        <c:v>44099</c:v>
                      </c:pt>
                      <c:pt idx="268">
                        <c:v>44100</c:v>
                      </c:pt>
                      <c:pt idx="269">
                        <c:v>44101</c:v>
                      </c:pt>
                      <c:pt idx="270">
                        <c:v>44102</c:v>
                      </c:pt>
                      <c:pt idx="271">
                        <c:v>44103</c:v>
                      </c:pt>
                      <c:pt idx="272">
                        <c:v>44104</c:v>
                      </c:pt>
                      <c:pt idx="273">
                        <c:v>44105</c:v>
                      </c:pt>
                      <c:pt idx="274">
                        <c:v>44106</c:v>
                      </c:pt>
                      <c:pt idx="275">
                        <c:v>44107</c:v>
                      </c:pt>
                      <c:pt idx="276">
                        <c:v>44108</c:v>
                      </c:pt>
                      <c:pt idx="277">
                        <c:v>44109</c:v>
                      </c:pt>
                      <c:pt idx="278">
                        <c:v>44110</c:v>
                      </c:pt>
                      <c:pt idx="279">
                        <c:v>44111</c:v>
                      </c:pt>
                      <c:pt idx="280">
                        <c:v>44112</c:v>
                      </c:pt>
                      <c:pt idx="281">
                        <c:v>44113</c:v>
                      </c:pt>
                      <c:pt idx="282">
                        <c:v>44114</c:v>
                      </c:pt>
                      <c:pt idx="283">
                        <c:v>44115</c:v>
                      </c:pt>
                      <c:pt idx="284">
                        <c:v>44116</c:v>
                      </c:pt>
                      <c:pt idx="285">
                        <c:v>44117</c:v>
                      </c:pt>
                      <c:pt idx="286">
                        <c:v>44118</c:v>
                      </c:pt>
                      <c:pt idx="287">
                        <c:v>44119</c:v>
                      </c:pt>
                      <c:pt idx="288">
                        <c:v>44120</c:v>
                      </c:pt>
                      <c:pt idx="289">
                        <c:v>44121</c:v>
                      </c:pt>
                      <c:pt idx="290">
                        <c:v>44122</c:v>
                      </c:pt>
                      <c:pt idx="291">
                        <c:v>44123</c:v>
                      </c:pt>
                      <c:pt idx="292">
                        <c:v>44124</c:v>
                      </c:pt>
                      <c:pt idx="293">
                        <c:v>44125</c:v>
                      </c:pt>
                      <c:pt idx="294">
                        <c:v>44126</c:v>
                      </c:pt>
                      <c:pt idx="295">
                        <c:v>44127</c:v>
                      </c:pt>
                      <c:pt idx="296">
                        <c:v>44128</c:v>
                      </c:pt>
                      <c:pt idx="297">
                        <c:v>44129</c:v>
                      </c:pt>
                      <c:pt idx="298">
                        <c:v>44130</c:v>
                      </c:pt>
                      <c:pt idx="299">
                        <c:v>44131</c:v>
                      </c:pt>
                      <c:pt idx="300">
                        <c:v>44132</c:v>
                      </c:pt>
                      <c:pt idx="301">
                        <c:v>44133</c:v>
                      </c:pt>
                      <c:pt idx="302">
                        <c:v>44134</c:v>
                      </c:pt>
                      <c:pt idx="303">
                        <c:v>44135</c:v>
                      </c:pt>
                    </c:numCache>
                  </c:numRef>
                </c:cat>
                <c:val>
                  <c:numRef>
                    <c:extLst xmlns:c15="http://schemas.microsoft.com/office/drawing/2012/chart">
                      <c:ext xmlns:c15="http://schemas.microsoft.com/office/drawing/2012/chart" uri="{02D57815-91ED-43cb-92C2-25804820EDAC}">
                        <c15:formulaRef>
                          <c15:sqref>FlightTrack!#REF!</c15:sqref>
                        </c15:formulaRef>
                      </c:ext>
                    </c:extLst>
                    <c:numCache>
                      <c:formatCode>General</c:formatCode>
                      <c:ptCount val="1"/>
                      <c:pt idx="0">
                        <c:v>1</c:v>
                      </c:pt>
                    </c:numCache>
                  </c:numRef>
                </c:val>
                <c:smooth val="0"/>
                <c:extLst xmlns:c15="http://schemas.microsoft.com/office/drawing/2012/chart">
                  <c:ext xmlns:c16="http://schemas.microsoft.com/office/drawing/2014/chart" uri="{C3380CC4-5D6E-409C-BE32-E72D297353CC}">
                    <c16:uniqueId val="{00000005-7B4D-461F-89A0-59B01E9201BC}"/>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FlightTrack!#REF!</c15:sqref>
                        </c15:formulaRef>
                      </c:ext>
                    </c:extLst>
                    <c:strCache>
                      <c:ptCount val="1"/>
                      <c:pt idx="0">
                        <c:v>#REF!</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numRef>
                    <c:extLst xmlns:c15="http://schemas.microsoft.com/office/drawing/2012/chart">
                      <c:ext xmlns:c15="http://schemas.microsoft.com/office/drawing/2012/chart" uri="{02D57815-91ED-43cb-92C2-25804820EDAC}">
                        <c15:formulaRef>
                          <c15:sqref>FlightTrack!$A$4:$A$307</c15:sqref>
                        </c15:formulaRef>
                      </c:ext>
                    </c:extLst>
                    <c:numCache>
                      <c:formatCode>[$-40C]d\-mmm;@</c:formatCode>
                      <c:ptCount val="304"/>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1</c:v>
                      </c:pt>
                      <c:pt idx="60">
                        <c:v>43892</c:v>
                      </c:pt>
                      <c:pt idx="61">
                        <c:v>43893</c:v>
                      </c:pt>
                      <c:pt idx="62">
                        <c:v>43894</c:v>
                      </c:pt>
                      <c:pt idx="63">
                        <c:v>43895</c:v>
                      </c:pt>
                      <c:pt idx="64">
                        <c:v>43896</c:v>
                      </c:pt>
                      <c:pt idx="65">
                        <c:v>43897</c:v>
                      </c:pt>
                      <c:pt idx="66">
                        <c:v>43898</c:v>
                      </c:pt>
                      <c:pt idx="67">
                        <c:v>43899</c:v>
                      </c:pt>
                      <c:pt idx="68">
                        <c:v>43900</c:v>
                      </c:pt>
                      <c:pt idx="69">
                        <c:v>43901</c:v>
                      </c:pt>
                      <c:pt idx="70">
                        <c:v>43902</c:v>
                      </c:pt>
                      <c:pt idx="71">
                        <c:v>43903</c:v>
                      </c:pt>
                      <c:pt idx="72">
                        <c:v>43904</c:v>
                      </c:pt>
                      <c:pt idx="73">
                        <c:v>43905</c:v>
                      </c:pt>
                      <c:pt idx="74">
                        <c:v>43906</c:v>
                      </c:pt>
                      <c:pt idx="75">
                        <c:v>43907</c:v>
                      </c:pt>
                      <c:pt idx="76">
                        <c:v>43908</c:v>
                      </c:pt>
                      <c:pt idx="77">
                        <c:v>43909</c:v>
                      </c:pt>
                      <c:pt idx="78">
                        <c:v>43910</c:v>
                      </c:pt>
                      <c:pt idx="79">
                        <c:v>43911</c:v>
                      </c:pt>
                      <c:pt idx="80">
                        <c:v>43912</c:v>
                      </c:pt>
                      <c:pt idx="81">
                        <c:v>43913</c:v>
                      </c:pt>
                      <c:pt idx="82">
                        <c:v>43914</c:v>
                      </c:pt>
                      <c:pt idx="83">
                        <c:v>43915</c:v>
                      </c:pt>
                      <c:pt idx="84">
                        <c:v>43916</c:v>
                      </c:pt>
                      <c:pt idx="85">
                        <c:v>43917</c:v>
                      </c:pt>
                      <c:pt idx="86">
                        <c:v>43918</c:v>
                      </c:pt>
                      <c:pt idx="87">
                        <c:v>43919</c:v>
                      </c:pt>
                      <c:pt idx="88">
                        <c:v>43920</c:v>
                      </c:pt>
                      <c:pt idx="89">
                        <c:v>43921</c:v>
                      </c:pt>
                      <c:pt idx="90">
                        <c:v>43922</c:v>
                      </c:pt>
                      <c:pt idx="91">
                        <c:v>43923</c:v>
                      </c:pt>
                      <c:pt idx="92">
                        <c:v>43924</c:v>
                      </c:pt>
                      <c:pt idx="93">
                        <c:v>43925</c:v>
                      </c:pt>
                      <c:pt idx="94">
                        <c:v>43926</c:v>
                      </c:pt>
                      <c:pt idx="95">
                        <c:v>43927</c:v>
                      </c:pt>
                      <c:pt idx="96">
                        <c:v>43928</c:v>
                      </c:pt>
                      <c:pt idx="97">
                        <c:v>43929</c:v>
                      </c:pt>
                      <c:pt idx="98">
                        <c:v>43930</c:v>
                      </c:pt>
                      <c:pt idx="99">
                        <c:v>43931</c:v>
                      </c:pt>
                      <c:pt idx="100">
                        <c:v>43932</c:v>
                      </c:pt>
                      <c:pt idx="101">
                        <c:v>43933</c:v>
                      </c:pt>
                      <c:pt idx="102">
                        <c:v>43934</c:v>
                      </c:pt>
                      <c:pt idx="103">
                        <c:v>43935</c:v>
                      </c:pt>
                      <c:pt idx="104">
                        <c:v>43936</c:v>
                      </c:pt>
                      <c:pt idx="105">
                        <c:v>43937</c:v>
                      </c:pt>
                      <c:pt idx="106">
                        <c:v>43938</c:v>
                      </c:pt>
                      <c:pt idx="107">
                        <c:v>43939</c:v>
                      </c:pt>
                      <c:pt idx="108">
                        <c:v>43940</c:v>
                      </c:pt>
                      <c:pt idx="109">
                        <c:v>43941</c:v>
                      </c:pt>
                      <c:pt idx="110">
                        <c:v>43942</c:v>
                      </c:pt>
                      <c:pt idx="111">
                        <c:v>43943</c:v>
                      </c:pt>
                      <c:pt idx="112">
                        <c:v>43944</c:v>
                      </c:pt>
                      <c:pt idx="113">
                        <c:v>43945</c:v>
                      </c:pt>
                      <c:pt idx="114">
                        <c:v>43946</c:v>
                      </c:pt>
                      <c:pt idx="115">
                        <c:v>43947</c:v>
                      </c:pt>
                      <c:pt idx="116">
                        <c:v>43948</c:v>
                      </c:pt>
                      <c:pt idx="117">
                        <c:v>43949</c:v>
                      </c:pt>
                      <c:pt idx="118">
                        <c:v>43950</c:v>
                      </c:pt>
                      <c:pt idx="119">
                        <c:v>43951</c:v>
                      </c:pt>
                      <c:pt idx="120">
                        <c:v>43952</c:v>
                      </c:pt>
                      <c:pt idx="121">
                        <c:v>43953</c:v>
                      </c:pt>
                      <c:pt idx="122">
                        <c:v>43954</c:v>
                      </c:pt>
                      <c:pt idx="123">
                        <c:v>43955</c:v>
                      </c:pt>
                      <c:pt idx="124">
                        <c:v>43956</c:v>
                      </c:pt>
                      <c:pt idx="125">
                        <c:v>43957</c:v>
                      </c:pt>
                      <c:pt idx="126">
                        <c:v>43958</c:v>
                      </c:pt>
                      <c:pt idx="127">
                        <c:v>43959</c:v>
                      </c:pt>
                      <c:pt idx="128">
                        <c:v>43960</c:v>
                      </c:pt>
                      <c:pt idx="129">
                        <c:v>43961</c:v>
                      </c:pt>
                      <c:pt idx="130">
                        <c:v>43962</c:v>
                      </c:pt>
                      <c:pt idx="131">
                        <c:v>43963</c:v>
                      </c:pt>
                      <c:pt idx="132">
                        <c:v>43964</c:v>
                      </c:pt>
                      <c:pt idx="133">
                        <c:v>43965</c:v>
                      </c:pt>
                      <c:pt idx="134">
                        <c:v>43966</c:v>
                      </c:pt>
                      <c:pt idx="135">
                        <c:v>43967</c:v>
                      </c:pt>
                      <c:pt idx="136">
                        <c:v>43968</c:v>
                      </c:pt>
                      <c:pt idx="137">
                        <c:v>43969</c:v>
                      </c:pt>
                      <c:pt idx="138">
                        <c:v>43970</c:v>
                      </c:pt>
                      <c:pt idx="139">
                        <c:v>43971</c:v>
                      </c:pt>
                      <c:pt idx="140">
                        <c:v>43972</c:v>
                      </c:pt>
                      <c:pt idx="141">
                        <c:v>43973</c:v>
                      </c:pt>
                      <c:pt idx="142">
                        <c:v>43974</c:v>
                      </c:pt>
                      <c:pt idx="143">
                        <c:v>43975</c:v>
                      </c:pt>
                      <c:pt idx="144">
                        <c:v>43976</c:v>
                      </c:pt>
                      <c:pt idx="145">
                        <c:v>43977</c:v>
                      </c:pt>
                      <c:pt idx="146">
                        <c:v>43978</c:v>
                      </c:pt>
                      <c:pt idx="147">
                        <c:v>43979</c:v>
                      </c:pt>
                      <c:pt idx="148">
                        <c:v>43980</c:v>
                      </c:pt>
                      <c:pt idx="149">
                        <c:v>43981</c:v>
                      </c:pt>
                      <c:pt idx="150">
                        <c:v>43982</c:v>
                      </c:pt>
                      <c:pt idx="151">
                        <c:v>43983</c:v>
                      </c:pt>
                      <c:pt idx="152">
                        <c:v>43984</c:v>
                      </c:pt>
                      <c:pt idx="153">
                        <c:v>43985</c:v>
                      </c:pt>
                      <c:pt idx="154">
                        <c:v>43986</c:v>
                      </c:pt>
                      <c:pt idx="155">
                        <c:v>43987</c:v>
                      </c:pt>
                      <c:pt idx="156">
                        <c:v>43988</c:v>
                      </c:pt>
                      <c:pt idx="157">
                        <c:v>43989</c:v>
                      </c:pt>
                      <c:pt idx="158">
                        <c:v>43990</c:v>
                      </c:pt>
                      <c:pt idx="159">
                        <c:v>43991</c:v>
                      </c:pt>
                      <c:pt idx="160">
                        <c:v>43992</c:v>
                      </c:pt>
                      <c:pt idx="161">
                        <c:v>43993</c:v>
                      </c:pt>
                      <c:pt idx="162">
                        <c:v>43994</c:v>
                      </c:pt>
                      <c:pt idx="163">
                        <c:v>43995</c:v>
                      </c:pt>
                      <c:pt idx="164">
                        <c:v>43996</c:v>
                      </c:pt>
                      <c:pt idx="165">
                        <c:v>43997</c:v>
                      </c:pt>
                      <c:pt idx="166">
                        <c:v>43998</c:v>
                      </c:pt>
                      <c:pt idx="167">
                        <c:v>43999</c:v>
                      </c:pt>
                      <c:pt idx="168">
                        <c:v>44000</c:v>
                      </c:pt>
                      <c:pt idx="169">
                        <c:v>44001</c:v>
                      </c:pt>
                      <c:pt idx="170">
                        <c:v>44002</c:v>
                      </c:pt>
                      <c:pt idx="171">
                        <c:v>44003</c:v>
                      </c:pt>
                      <c:pt idx="172">
                        <c:v>44004</c:v>
                      </c:pt>
                      <c:pt idx="173">
                        <c:v>44005</c:v>
                      </c:pt>
                      <c:pt idx="174">
                        <c:v>44006</c:v>
                      </c:pt>
                      <c:pt idx="175">
                        <c:v>44007</c:v>
                      </c:pt>
                      <c:pt idx="176">
                        <c:v>44008</c:v>
                      </c:pt>
                      <c:pt idx="177">
                        <c:v>44009</c:v>
                      </c:pt>
                      <c:pt idx="178">
                        <c:v>44010</c:v>
                      </c:pt>
                      <c:pt idx="179">
                        <c:v>44011</c:v>
                      </c:pt>
                      <c:pt idx="180">
                        <c:v>44012</c:v>
                      </c:pt>
                      <c:pt idx="181">
                        <c:v>44013</c:v>
                      </c:pt>
                      <c:pt idx="182">
                        <c:v>44014</c:v>
                      </c:pt>
                      <c:pt idx="183">
                        <c:v>44015</c:v>
                      </c:pt>
                      <c:pt idx="184">
                        <c:v>44016</c:v>
                      </c:pt>
                      <c:pt idx="185">
                        <c:v>44017</c:v>
                      </c:pt>
                      <c:pt idx="186">
                        <c:v>44018</c:v>
                      </c:pt>
                      <c:pt idx="187">
                        <c:v>44019</c:v>
                      </c:pt>
                      <c:pt idx="188">
                        <c:v>44020</c:v>
                      </c:pt>
                      <c:pt idx="189">
                        <c:v>44021</c:v>
                      </c:pt>
                      <c:pt idx="190">
                        <c:v>44022</c:v>
                      </c:pt>
                      <c:pt idx="191">
                        <c:v>44023</c:v>
                      </c:pt>
                      <c:pt idx="192">
                        <c:v>44024</c:v>
                      </c:pt>
                      <c:pt idx="193">
                        <c:v>44025</c:v>
                      </c:pt>
                      <c:pt idx="194">
                        <c:v>44026</c:v>
                      </c:pt>
                      <c:pt idx="195">
                        <c:v>44027</c:v>
                      </c:pt>
                      <c:pt idx="196">
                        <c:v>44028</c:v>
                      </c:pt>
                      <c:pt idx="197">
                        <c:v>44029</c:v>
                      </c:pt>
                      <c:pt idx="198">
                        <c:v>44030</c:v>
                      </c:pt>
                      <c:pt idx="199">
                        <c:v>44031</c:v>
                      </c:pt>
                      <c:pt idx="200">
                        <c:v>44032</c:v>
                      </c:pt>
                      <c:pt idx="201">
                        <c:v>44033</c:v>
                      </c:pt>
                      <c:pt idx="202">
                        <c:v>44034</c:v>
                      </c:pt>
                      <c:pt idx="203">
                        <c:v>44035</c:v>
                      </c:pt>
                      <c:pt idx="204">
                        <c:v>44036</c:v>
                      </c:pt>
                      <c:pt idx="205">
                        <c:v>44037</c:v>
                      </c:pt>
                      <c:pt idx="206">
                        <c:v>44038</c:v>
                      </c:pt>
                      <c:pt idx="207">
                        <c:v>44039</c:v>
                      </c:pt>
                      <c:pt idx="208">
                        <c:v>44040</c:v>
                      </c:pt>
                      <c:pt idx="209">
                        <c:v>44041</c:v>
                      </c:pt>
                      <c:pt idx="210">
                        <c:v>44042</c:v>
                      </c:pt>
                      <c:pt idx="211">
                        <c:v>44043</c:v>
                      </c:pt>
                      <c:pt idx="212">
                        <c:v>44044</c:v>
                      </c:pt>
                      <c:pt idx="213">
                        <c:v>44045</c:v>
                      </c:pt>
                      <c:pt idx="214">
                        <c:v>44046</c:v>
                      </c:pt>
                      <c:pt idx="215">
                        <c:v>44047</c:v>
                      </c:pt>
                      <c:pt idx="216">
                        <c:v>44048</c:v>
                      </c:pt>
                      <c:pt idx="217">
                        <c:v>44049</c:v>
                      </c:pt>
                      <c:pt idx="218">
                        <c:v>44050</c:v>
                      </c:pt>
                      <c:pt idx="219">
                        <c:v>44051</c:v>
                      </c:pt>
                      <c:pt idx="220">
                        <c:v>44052</c:v>
                      </c:pt>
                      <c:pt idx="221">
                        <c:v>44053</c:v>
                      </c:pt>
                      <c:pt idx="222">
                        <c:v>44054</c:v>
                      </c:pt>
                      <c:pt idx="223">
                        <c:v>44055</c:v>
                      </c:pt>
                      <c:pt idx="224">
                        <c:v>44056</c:v>
                      </c:pt>
                      <c:pt idx="225">
                        <c:v>44057</c:v>
                      </c:pt>
                      <c:pt idx="226">
                        <c:v>44058</c:v>
                      </c:pt>
                      <c:pt idx="227">
                        <c:v>44059</c:v>
                      </c:pt>
                      <c:pt idx="228">
                        <c:v>44060</c:v>
                      </c:pt>
                      <c:pt idx="229">
                        <c:v>44061</c:v>
                      </c:pt>
                      <c:pt idx="230">
                        <c:v>44062</c:v>
                      </c:pt>
                      <c:pt idx="231">
                        <c:v>44063</c:v>
                      </c:pt>
                      <c:pt idx="232">
                        <c:v>44064</c:v>
                      </c:pt>
                      <c:pt idx="233">
                        <c:v>44065</c:v>
                      </c:pt>
                      <c:pt idx="234">
                        <c:v>44066</c:v>
                      </c:pt>
                      <c:pt idx="235">
                        <c:v>44067</c:v>
                      </c:pt>
                      <c:pt idx="236">
                        <c:v>44068</c:v>
                      </c:pt>
                      <c:pt idx="237">
                        <c:v>44069</c:v>
                      </c:pt>
                      <c:pt idx="238">
                        <c:v>44070</c:v>
                      </c:pt>
                      <c:pt idx="239">
                        <c:v>44071</c:v>
                      </c:pt>
                      <c:pt idx="240">
                        <c:v>44072</c:v>
                      </c:pt>
                      <c:pt idx="241">
                        <c:v>44073</c:v>
                      </c:pt>
                      <c:pt idx="242">
                        <c:v>44074</c:v>
                      </c:pt>
                      <c:pt idx="243">
                        <c:v>44075</c:v>
                      </c:pt>
                      <c:pt idx="244">
                        <c:v>44076</c:v>
                      </c:pt>
                      <c:pt idx="245">
                        <c:v>44077</c:v>
                      </c:pt>
                      <c:pt idx="246">
                        <c:v>44078</c:v>
                      </c:pt>
                      <c:pt idx="247">
                        <c:v>44079</c:v>
                      </c:pt>
                      <c:pt idx="248">
                        <c:v>44080</c:v>
                      </c:pt>
                      <c:pt idx="249">
                        <c:v>44081</c:v>
                      </c:pt>
                      <c:pt idx="250">
                        <c:v>44082</c:v>
                      </c:pt>
                      <c:pt idx="251">
                        <c:v>44083</c:v>
                      </c:pt>
                      <c:pt idx="252">
                        <c:v>44084</c:v>
                      </c:pt>
                      <c:pt idx="253">
                        <c:v>44085</c:v>
                      </c:pt>
                      <c:pt idx="254">
                        <c:v>44086</c:v>
                      </c:pt>
                      <c:pt idx="255">
                        <c:v>44087</c:v>
                      </c:pt>
                      <c:pt idx="256">
                        <c:v>44088</c:v>
                      </c:pt>
                      <c:pt idx="257">
                        <c:v>44089</c:v>
                      </c:pt>
                      <c:pt idx="258">
                        <c:v>44090</c:v>
                      </c:pt>
                      <c:pt idx="259">
                        <c:v>44091</c:v>
                      </c:pt>
                      <c:pt idx="260">
                        <c:v>44092</c:v>
                      </c:pt>
                      <c:pt idx="261">
                        <c:v>44093</c:v>
                      </c:pt>
                      <c:pt idx="262">
                        <c:v>44094</c:v>
                      </c:pt>
                      <c:pt idx="263">
                        <c:v>44095</c:v>
                      </c:pt>
                      <c:pt idx="264">
                        <c:v>44096</c:v>
                      </c:pt>
                      <c:pt idx="265">
                        <c:v>44097</c:v>
                      </c:pt>
                      <c:pt idx="266">
                        <c:v>44098</c:v>
                      </c:pt>
                      <c:pt idx="267">
                        <c:v>44099</c:v>
                      </c:pt>
                      <c:pt idx="268">
                        <c:v>44100</c:v>
                      </c:pt>
                      <c:pt idx="269">
                        <c:v>44101</c:v>
                      </c:pt>
                      <c:pt idx="270">
                        <c:v>44102</c:v>
                      </c:pt>
                      <c:pt idx="271">
                        <c:v>44103</c:v>
                      </c:pt>
                      <c:pt idx="272">
                        <c:v>44104</c:v>
                      </c:pt>
                      <c:pt idx="273">
                        <c:v>44105</c:v>
                      </c:pt>
                      <c:pt idx="274">
                        <c:v>44106</c:v>
                      </c:pt>
                      <c:pt idx="275">
                        <c:v>44107</c:v>
                      </c:pt>
                      <c:pt idx="276">
                        <c:v>44108</c:v>
                      </c:pt>
                      <c:pt idx="277">
                        <c:v>44109</c:v>
                      </c:pt>
                      <c:pt idx="278">
                        <c:v>44110</c:v>
                      </c:pt>
                      <c:pt idx="279">
                        <c:v>44111</c:v>
                      </c:pt>
                      <c:pt idx="280">
                        <c:v>44112</c:v>
                      </c:pt>
                      <c:pt idx="281">
                        <c:v>44113</c:v>
                      </c:pt>
                      <c:pt idx="282">
                        <c:v>44114</c:v>
                      </c:pt>
                      <c:pt idx="283">
                        <c:v>44115</c:v>
                      </c:pt>
                      <c:pt idx="284">
                        <c:v>44116</c:v>
                      </c:pt>
                      <c:pt idx="285">
                        <c:v>44117</c:v>
                      </c:pt>
                      <c:pt idx="286">
                        <c:v>44118</c:v>
                      </c:pt>
                      <c:pt idx="287">
                        <c:v>44119</c:v>
                      </c:pt>
                      <c:pt idx="288">
                        <c:v>44120</c:v>
                      </c:pt>
                      <c:pt idx="289">
                        <c:v>44121</c:v>
                      </c:pt>
                      <c:pt idx="290">
                        <c:v>44122</c:v>
                      </c:pt>
                      <c:pt idx="291">
                        <c:v>44123</c:v>
                      </c:pt>
                      <c:pt idx="292">
                        <c:v>44124</c:v>
                      </c:pt>
                      <c:pt idx="293">
                        <c:v>44125</c:v>
                      </c:pt>
                      <c:pt idx="294">
                        <c:v>44126</c:v>
                      </c:pt>
                      <c:pt idx="295">
                        <c:v>44127</c:v>
                      </c:pt>
                      <c:pt idx="296">
                        <c:v>44128</c:v>
                      </c:pt>
                      <c:pt idx="297">
                        <c:v>44129</c:v>
                      </c:pt>
                      <c:pt idx="298">
                        <c:v>44130</c:v>
                      </c:pt>
                      <c:pt idx="299">
                        <c:v>44131</c:v>
                      </c:pt>
                      <c:pt idx="300">
                        <c:v>44132</c:v>
                      </c:pt>
                      <c:pt idx="301">
                        <c:v>44133</c:v>
                      </c:pt>
                      <c:pt idx="302">
                        <c:v>44134</c:v>
                      </c:pt>
                      <c:pt idx="303">
                        <c:v>44135</c:v>
                      </c:pt>
                    </c:numCache>
                  </c:numRef>
                </c:cat>
                <c:val>
                  <c:numRef>
                    <c:extLst xmlns:c15="http://schemas.microsoft.com/office/drawing/2012/chart">
                      <c:ext xmlns:c15="http://schemas.microsoft.com/office/drawing/2012/chart" uri="{02D57815-91ED-43cb-92C2-25804820EDAC}">
                        <c15:formulaRef>
                          <c15:sqref>FlightTrack!#REF!</c15:sqref>
                        </c15:formulaRef>
                      </c:ext>
                    </c:extLst>
                    <c:numCache>
                      <c:formatCode>General</c:formatCode>
                      <c:ptCount val="1"/>
                      <c:pt idx="0">
                        <c:v>1</c:v>
                      </c:pt>
                    </c:numCache>
                  </c:numRef>
                </c:val>
                <c:smooth val="0"/>
                <c:extLst xmlns:c15="http://schemas.microsoft.com/office/drawing/2012/chart">
                  <c:ext xmlns:c16="http://schemas.microsoft.com/office/drawing/2014/chart" uri="{C3380CC4-5D6E-409C-BE32-E72D297353CC}">
                    <c16:uniqueId val="{00000006-7B4D-461F-89A0-59B01E9201BC}"/>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FlightTrack!$C$3</c15:sqref>
                        </c15:formulaRef>
                      </c:ext>
                    </c:extLst>
                    <c:strCache>
                      <c:ptCount val="1"/>
                      <c:pt idx="0">
                        <c:v>2020 7-day moving average</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numRef>
                    <c:extLst xmlns:c15="http://schemas.microsoft.com/office/drawing/2012/chart">
                      <c:ext xmlns:c15="http://schemas.microsoft.com/office/drawing/2012/chart" uri="{02D57815-91ED-43cb-92C2-25804820EDAC}">
                        <c15:formulaRef>
                          <c15:sqref>FlightTrack!$A$4:$A$307</c15:sqref>
                        </c15:formulaRef>
                      </c:ext>
                    </c:extLst>
                    <c:numCache>
                      <c:formatCode>[$-40C]d\-mmm;@</c:formatCode>
                      <c:ptCount val="304"/>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1</c:v>
                      </c:pt>
                      <c:pt idx="60">
                        <c:v>43892</c:v>
                      </c:pt>
                      <c:pt idx="61">
                        <c:v>43893</c:v>
                      </c:pt>
                      <c:pt idx="62">
                        <c:v>43894</c:v>
                      </c:pt>
                      <c:pt idx="63">
                        <c:v>43895</c:v>
                      </c:pt>
                      <c:pt idx="64">
                        <c:v>43896</c:v>
                      </c:pt>
                      <c:pt idx="65">
                        <c:v>43897</c:v>
                      </c:pt>
                      <c:pt idx="66">
                        <c:v>43898</c:v>
                      </c:pt>
                      <c:pt idx="67">
                        <c:v>43899</c:v>
                      </c:pt>
                      <c:pt idx="68">
                        <c:v>43900</c:v>
                      </c:pt>
                      <c:pt idx="69">
                        <c:v>43901</c:v>
                      </c:pt>
                      <c:pt idx="70">
                        <c:v>43902</c:v>
                      </c:pt>
                      <c:pt idx="71">
                        <c:v>43903</c:v>
                      </c:pt>
                      <c:pt idx="72">
                        <c:v>43904</c:v>
                      </c:pt>
                      <c:pt idx="73">
                        <c:v>43905</c:v>
                      </c:pt>
                      <c:pt idx="74">
                        <c:v>43906</c:v>
                      </c:pt>
                      <c:pt idx="75">
                        <c:v>43907</c:v>
                      </c:pt>
                      <c:pt idx="76">
                        <c:v>43908</c:v>
                      </c:pt>
                      <c:pt idx="77">
                        <c:v>43909</c:v>
                      </c:pt>
                      <c:pt idx="78">
                        <c:v>43910</c:v>
                      </c:pt>
                      <c:pt idx="79">
                        <c:v>43911</c:v>
                      </c:pt>
                      <c:pt idx="80">
                        <c:v>43912</c:v>
                      </c:pt>
                      <c:pt idx="81">
                        <c:v>43913</c:v>
                      </c:pt>
                      <c:pt idx="82">
                        <c:v>43914</c:v>
                      </c:pt>
                      <c:pt idx="83">
                        <c:v>43915</c:v>
                      </c:pt>
                      <c:pt idx="84">
                        <c:v>43916</c:v>
                      </c:pt>
                      <c:pt idx="85">
                        <c:v>43917</c:v>
                      </c:pt>
                      <c:pt idx="86">
                        <c:v>43918</c:v>
                      </c:pt>
                      <c:pt idx="87">
                        <c:v>43919</c:v>
                      </c:pt>
                      <c:pt idx="88">
                        <c:v>43920</c:v>
                      </c:pt>
                      <c:pt idx="89">
                        <c:v>43921</c:v>
                      </c:pt>
                      <c:pt idx="90">
                        <c:v>43922</c:v>
                      </c:pt>
                      <c:pt idx="91">
                        <c:v>43923</c:v>
                      </c:pt>
                      <c:pt idx="92">
                        <c:v>43924</c:v>
                      </c:pt>
                      <c:pt idx="93">
                        <c:v>43925</c:v>
                      </c:pt>
                      <c:pt idx="94">
                        <c:v>43926</c:v>
                      </c:pt>
                      <c:pt idx="95">
                        <c:v>43927</c:v>
                      </c:pt>
                      <c:pt idx="96">
                        <c:v>43928</c:v>
                      </c:pt>
                      <c:pt idx="97">
                        <c:v>43929</c:v>
                      </c:pt>
                      <c:pt idx="98">
                        <c:v>43930</c:v>
                      </c:pt>
                      <c:pt idx="99">
                        <c:v>43931</c:v>
                      </c:pt>
                      <c:pt idx="100">
                        <c:v>43932</c:v>
                      </c:pt>
                      <c:pt idx="101">
                        <c:v>43933</c:v>
                      </c:pt>
                      <c:pt idx="102">
                        <c:v>43934</c:v>
                      </c:pt>
                      <c:pt idx="103">
                        <c:v>43935</c:v>
                      </c:pt>
                      <c:pt idx="104">
                        <c:v>43936</c:v>
                      </c:pt>
                      <c:pt idx="105">
                        <c:v>43937</c:v>
                      </c:pt>
                      <c:pt idx="106">
                        <c:v>43938</c:v>
                      </c:pt>
                      <c:pt idx="107">
                        <c:v>43939</c:v>
                      </c:pt>
                      <c:pt idx="108">
                        <c:v>43940</c:v>
                      </c:pt>
                      <c:pt idx="109">
                        <c:v>43941</c:v>
                      </c:pt>
                      <c:pt idx="110">
                        <c:v>43942</c:v>
                      </c:pt>
                      <c:pt idx="111">
                        <c:v>43943</c:v>
                      </c:pt>
                      <c:pt idx="112">
                        <c:v>43944</c:v>
                      </c:pt>
                      <c:pt idx="113">
                        <c:v>43945</c:v>
                      </c:pt>
                      <c:pt idx="114">
                        <c:v>43946</c:v>
                      </c:pt>
                      <c:pt idx="115">
                        <c:v>43947</c:v>
                      </c:pt>
                      <c:pt idx="116">
                        <c:v>43948</c:v>
                      </c:pt>
                      <c:pt idx="117">
                        <c:v>43949</c:v>
                      </c:pt>
                      <c:pt idx="118">
                        <c:v>43950</c:v>
                      </c:pt>
                      <c:pt idx="119">
                        <c:v>43951</c:v>
                      </c:pt>
                      <c:pt idx="120">
                        <c:v>43952</c:v>
                      </c:pt>
                      <c:pt idx="121">
                        <c:v>43953</c:v>
                      </c:pt>
                      <c:pt idx="122">
                        <c:v>43954</c:v>
                      </c:pt>
                      <c:pt idx="123">
                        <c:v>43955</c:v>
                      </c:pt>
                      <c:pt idx="124">
                        <c:v>43956</c:v>
                      </c:pt>
                      <c:pt idx="125">
                        <c:v>43957</c:v>
                      </c:pt>
                      <c:pt idx="126">
                        <c:v>43958</c:v>
                      </c:pt>
                      <c:pt idx="127">
                        <c:v>43959</c:v>
                      </c:pt>
                      <c:pt idx="128">
                        <c:v>43960</c:v>
                      </c:pt>
                      <c:pt idx="129">
                        <c:v>43961</c:v>
                      </c:pt>
                      <c:pt idx="130">
                        <c:v>43962</c:v>
                      </c:pt>
                      <c:pt idx="131">
                        <c:v>43963</c:v>
                      </c:pt>
                      <c:pt idx="132">
                        <c:v>43964</c:v>
                      </c:pt>
                      <c:pt idx="133">
                        <c:v>43965</c:v>
                      </c:pt>
                      <c:pt idx="134">
                        <c:v>43966</c:v>
                      </c:pt>
                      <c:pt idx="135">
                        <c:v>43967</c:v>
                      </c:pt>
                      <c:pt idx="136">
                        <c:v>43968</c:v>
                      </c:pt>
                      <c:pt idx="137">
                        <c:v>43969</c:v>
                      </c:pt>
                      <c:pt idx="138">
                        <c:v>43970</c:v>
                      </c:pt>
                      <c:pt idx="139">
                        <c:v>43971</c:v>
                      </c:pt>
                      <c:pt idx="140">
                        <c:v>43972</c:v>
                      </c:pt>
                      <c:pt idx="141">
                        <c:v>43973</c:v>
                      </c:pt>
                      <c:pt idx="142">
                        <c:v>43974</c:v>
                      </c:pt>
                      <c:pt idx="143">
                        <c:v>43975</c:v>
                      </c:pt>
                      <c:pt idx="144">
                        <c:v>43976</c:v>
                      </c:pt>
                      <c:pt idx="145">
                        <c:v>43977</c:v>
                      </c:pt>
                      <c:pt idx="146">
                        <c:v>43978</c:v>
                      </c:pt>
                      <c:pt idx="147">
                        <c:v>43979</c:v>
                      </c:pt>
                      <c:pt idx="148">
                        <c:v>43980</c:v>
                      </c:pt>
                      <c:pt idx="149">
                        <c:v>43981</c:v>
                      </c:pt>
                      <c:pt idx="150">
                        <c:v>43982</c:v>
                      </c:pt>
                      <c:pt idx="151">
                        <c:v>43983</c:v>
                      </c:pt>
                      <c:pt idx="152">
                        <c:v>43984</c:v>
                      </c:pt>
                      <c:pt idx="153">
                        <c:v>43985</c:v>
                      </c:pt>
                      <c:pt idx="154">
                        <c:v>43986</c:v>
                      </c:pt>
                      <c:pt idx="155">
                        <c:v>43987</c:v>
                      </c:pt>
                      <c:pt idx="156">
                        <c:v>43988</c:v>
                      </c:pt>
                      <c:pt idx="157">
                        <c:v>43989</c:v>
                      </c:pt>
                      <c:pt idx="158">
                        <c:v>43990</c:v>
                      </c:pt>
                      <c:pt idx="159">
                        <c:v>43991</c:v>
                      </c:pt>
                      <c:pt idx="160">
                        <c:v>43992</c:v>
                      </c:pt>
                      <c:pt idx="161">
                        <c:v>43993</c:v>
                      </c:pt>
                      <c:pt idx="162">
                        <c:v>43994</c:v>
                      </c:pt>
                      <c:pt idx="163">
                        <c:v>43995</c:v>
                      </c:pt>
                      <c:pt idx="164">
                        <c:v>43996</c:v>
                      </c:pt>
                      <c:pt idx="165">
                        <c:v>43997</c:v>
                      </c:pt>
                      <c:pt idx="166">
                        <c:v>43998</c:v>
                      </c:pt>
                      <c:pt idx="167">
                        <c:v>43999</c:v>
                      </c:pt>
                      <c:pt idx="168">
                        <c:v>44000</c:v>
                      </c:pt>
                      <c:pt idx="169">
                        <c:v>44001</c:v>
                      </c:pt>
                      <c:pt idx="170">
                        <c:v>44002</c:v>
                      </c:pt>
                      <c:pt idx="171">
                        <c:v>44003</c:v>
                      </c:pt>
                      <c:pt idx="172">
                        <c:v>44004</c:v>
                      </c:pt>
                      <c:pt idx="173">
                        <c:v>44005</c:v>
                      </c:pt>
                      <c:pt idx="174">
                        <c:v>44006</c:v>
                      </c:pt>
                      <c:pt idx="175">
                        <c:v>44007</c:v>
                      </c:pt>
                      <c:pt idx="176">
                        <c:v>44008</c:v>
                      </c:pt>
                      <c:pt idx="177">
                        <c:v>44009</c:v>
                      </c:pt>
                      <c:pt idx="178">
                        <c:v>44010</c:v>
                      </c:pt>
                      <c:pt idx="179">
                        <c:v>44011</c:v>
                      </c:pt>
                      <c:pt idx="180">
                        <c:v>44012</c:v>
                      </c:pt>
                      <c:pt idx="181">
                        <c:v>44013</c:v>
                      </c:pt>
                      <c:pt idx="182">
                        <c:v>44014</c:v>
                      </c:pt>
                      <c:pt idx="183">
                        <c:v>44015</c:v>
                      </c:pt>
                      <c:pt idx="184">
                        <c:v>44016</c:v>
                      </c:pt>
                      <c:pt idx="185">
                        <c:v>44017</c:v>
                      </c:pt>
                      <c:pt idx="186">
                        <c:v>44018</c:v>
                      </c:pt>
                      <c:pt idx="187">
                        <c:v>44019</c:v>
                      </c:pt>
                      <c:pt idx="188">
                        <c:v>44020</c:v>
                      </c:pt>
                      <c:pt idx="189">
                        <c:v>44021</c:v>
                      </c:pt>
                      <c:pt idx="190">
                        <c:v>44022</c:v>
                      </c:pt>
                      <c:pt idx="191">
                        <c:v>44023</c:v>
                      </c:pt>
                      <c:pt idx="192">
                        <c:v>44024</c:v>
                      </c:pt>
                      <c:pt idx="193">
                        <c:v>44025</c:v>
                      </c:pt>
                      <c:pt idx="194">
                        <c:v>44026</c:v>
                      </c:pt>
                      <c:pt idx="195">
                        <c:v>44027</c:v>
                      </c:pt>
                      <c:pt idx="196">
                        <c:v>44028</c:v>
                      </c:pt>
                      <c:pt idx="197">
                        <c:v>44029</c:v>
                      </c:pt>
                      <c:pt idx="198">
                        <c:v>44030</c:v>
                      </c:pt>
                      <c:pt idx="199">
                        <c:v>44031</c:v>
                      </c:pt>
                      <c:pt idx="200">
                        <c:v>44032</c:v>
                      </c:pt>
                      <c:pt idx="201">
                        <c:v>44033</c:v>
                      </c:pt>
                      <c:pt idx="202">
                        <c:v>44034</c:v>
                      </c:pt>
                      <c:pt idx="203">
                        <c:v>44035</c:v>
                      </c:pt>
                      <c:pt idx="204">
                        <c:v>44036</c:v>
                      </c:pt>
                      <c:pt idx="205">
                        <c:v>44037</c:v>
                      </c:pt>
                      <c:pt idx="206">
                        <c:v>44038</c:v>
                      </c:pt>
                      <c:pt idx="207">
                        <c:v>44039</c:v>
                      </c:pt>
                      <c:pt idx="208">
                        <c:v>44040</c:v>
                      </c:pt>
                      <c:pt idx="209">
                        <c:v>44041</c:v>
                      </c:pt>
                      <c:pt idx="210">
                        <c:v>44042</c:v>
                      </c:pt>
                      <c:pt idx="211">
                        <c:v>44043</c:v>
                      </c:pt>
                      <c:pt idx="212">
                        <c:v>44044</c:v>
                      </c:pt>
                      <c:pt idx="213">
                        <c:v>44045</c:v>
                      </c:pt>
                      <c:pt idx="214">
                        <c:v>44046</c:v>
                      </c:pt>
                      <c:pt idx="215">
                        <c:v>44047</c:v>
                      </c:pt>
                      <c:pt idx="216">
                        <c:v>44048</c:v>
                      </c:pt>
                      <c:pt idx="217">
                        <c:v>44049</c:v>
                      </c:pt>
                      <c:pt idx="218">
                        <c:v>44050</c:v>
                      </c:pt>
                      <c:pt idx="219">
                        <c:v>44051</c:v>
                      </c:pt>
                      <c:pt idx="220">
                        <c:v>44052</c:v>
                      </c:pt>
                      <c:pt idx="221">
                        <c:v>44053</c:v>
                      </c:pt>
                      <c:pt idx="222">
                        <c:v>44054</c:v>
                      </c:pt>
                      <c:pt idx="223">
                        <c:v>44055</c:v>
                      </c:pt>
                      <c:pt idx="224">
                        <c:v>44056</c:v>
                      </c:pt>
                      <c:pt idx="225">
                        <c:v>44057</c:v>
                      </c:pt>
                      <c:pt idx="226">
                        <c:v>44058</c:v>
                      </c:pt>
                      <c:pt idx="227">
                        <c:v>44059</c:v>
                      </c:pt>
                      <c:pt idx="228">
                        <c:v>44060</c:v>
                      </c:pt>
                      <c:pt idx="229">
                        <c:v>44061</c:v>
                      </c:pt>
                      <c:pt idx="230">
                        <c:v>44062</c:v>
                      </c:pt>
                      <c:pt idx="231">
                        <c:v>44063</c:v>
                      </c:pt>
                      <c:pt idx="232">
                        <c:v>44064</c:v>
                      </c:pt>
                      <c:pt idx="233">
                        <c:v>44065</c:v>
                      </c:pt>
                      <c:pt idx="234">
                        <c:v>44066</c:v>
                      </c:pt>
                      <c:pt idx="235">
                        <c:v>44067</c:v>
                      </c:pt>
                      <c:pt idx="236">
                        <c:v>44068</c:v>
                      </c:pt>
                      <c:pt idx="237">
                        <c:v>44069</c:v>
                      </c:pt>
                      <c:pt idx="238">
                        <c:v>44070</c:v>
                      </c:pt>
                      <c:pt idx="239">
                        <c:v>44071</c:v>
                      </c:pt>
                      <c:pt idx="240">
                        <c:v>44072</c:v>
                      </c:pt>
                      <c:pt idx="241">
                        <c:v>44073</c:v>
                      </c:pt>
                      <c:pt idx="242">
                        <c:v>44074</c:v>
                      </c:pt>
                      <c:pt idx="243">
                        <c:v>44075</c:v>
                      </c:pt>
                      <c:pt idx="244">
                        <c:v>44076</c:v>
                      </c:pt>
                      <c:pt idx="245">
                        <c:v>44077</c:v>
                      </c:pt>
                      <c:pt idx="246">
                        <c:v>44078</c:v>
                      </c:pt>
                      <c:pt idx="247">
                        <c:v>44079</c:v>
                      </c:pt>
                      <c:pt idx="248">
                        <c:v>44080</c:v>
                      </c:pt>
                      <c:pt idx="249">
                        <c:v>44081</c:v>
                      </c:pt>
                      <c:pt idx="250">
                        <c:v>44082</c:v>
                      </c:pt>
                      <c:pt idx="251">
                        <c:v>44083</c:v>
                      </c:pt>
                      <c:pt idx="252">
                        <c:v>44084</c:v>
                      </c:pt>
                      <c:pt idx="253">
                        <c:v>44085</c:v>
                      </c:pt>
                      <c:pt idx="254">
                        <c:v>44086</c:v>
                      </c:pt>
                      <c:pt idx="255">
                        <c:v>44087</c:v>
                      </c:pt>
                      <c:pt idx="256">
                        <c:v>44088</c:v>
                      </c:pt>
                      <c:pt idx="257">
                        <c:v>44089</c:v>
                      </c:pt>
                      <c:pt idx="258">
                        <c:v>44090</c:v>
                      </c:pt>
                      <c:pt idx="259">
                        <c:v>44091</c:v>
                      </c:pt>
                      <c:pt idx="260">
                        <c:v>44092</c:v>
                      </c:pt>
                      <c:pt idx="261">
                        <c:v>44093</c:v>
                      </c:pt>
                      <c:pt idx="262">
                        <c:v>44094</c:v>
                      </c:pt>
                      <c:pt idx="263">
                        <c:v>44095</c:v>
                      </c:pt>
                      <c:pt idx="264">
                        <c:v>44096</c:v>
                      </c:pt>
                      <c:pt idx="265">
                        <c:v>44097</c:v>
                      </c:pt>
                      <c:pt idx="266">
                        <c:v>44098</c:v>
                      </c:pt>
                      <c:pt idx="267">
                        <c:v>44099</c:v>
                      </c:pt>
                      <c:pt idx="268">
                        <c:v>44100</c:v>
                      </c:pt>
                      <c:pt idx="269">
                        <c:v>44101</c:v>
                      </c:pt>
                      <c:pt idx="270">
                        <c:v>44102</c:v>
                      </c:pt>
                      <c:pt idx="271">
                        <c:v>44103</c:v>
                      </c:pt>
                      <c:pt idx="272">
                        <c:v>44104</c:v>
                      </c:pt>
                      <c:pt idx="273">
                        <c:v>44105</c:v>
                      </c:pt>
                      <c:pt idx="274">
                        <c:v>44106</c:v>
                      </c:pt>
                      <c:pt idx="275">
                        <c:v>44107</c:v>
                      </c:pt>
                      <c:pt idx="276">
                        <c:v>44108</c:v>
                      </c:pt>
                      <c:pt idx="277">
                        <c:v>44109</c:v>
                      </c:pt>
                      <c:pt idx="278">
                        <c:v>44110</c:v>
                      </c:pt>
                      <c:pt idx="279">
                        <c:v>44111</c:v>
                      </c:pt>
                      <c:pt idx="280">
                        <c:v>44112</c:v>
                      </c:pt>
                      <c:pt idx="281">
                        <c:v>44113</c:v>
                      </c:pt>
                      <c:pt idx="282">
                        <c:v>44114</c:v>
                      </c:pt>
                      <c:pt idx="283">
                        <c:v>44115</c:v>
                      </c:pt>
                      <c:pt idx="284">
                        <c:v>44116</c:v>
                      </c:pt>
                      <c:pt idx="285">
                        <c:v>44117</c:v>
                      </c:pt>
                      <c:pt idx="286">
                        <c:v>44118</c:v>
                      </c:pt>
                      <c:pt idx="287">
                        <c:v>44119</c:v>
                      </c:pt>
                      <c:pt idx="288">
                        <c:v>44120</c:v>
                      </c:pt>
                      <c:pt idx="289">
                        <c:v>44121</c:v>
                      </c:pt>
                      <c:pt idx="290">
                        <c:v>44122</c:v>
                      </c:pt>
                      <c:pt idx="291">
                        <c:v>44123</c:v>
                      </c:pt>
                      <c:pt idx="292">
                        <c:v>44124</c:v>
                      </c:pt>
                      <c:pt idx="293">
                        <c:v>44125</c:v>
                      </c:pt>
                      <c:pt idx="294">
                        <c:v>44126</c:v>
                      </c:pt>
                      <c:pt idx="295">
                        <c:v>44127</c:v>
                      </c:pt>
                      <c:pt idx="296">
                        <c:v>44128</c:v>
                      </c:pt>
                      <c:pt idx="297">
                        <c:v>44129</c:v>
                      </c:pt>
                      <c:pt idx="298">
                        <c:v>44130</c:v>
                      </c:pt>
                      <c:pt idx="299">
                        <c:v>44131</c:v>
                      </c:pt>
                      <c:pt idx="300">
                        <c:v>44132</c:v>
                      </c:pt>
                      <c:pt idx="301">
                        <c:v>44133</c:v>
                      </c:pt>
                      <c:pt idx="302">
                        <c:v>44134</c:v>
                      </c:pt>
                      <c:pt idx="303">
                        <c:v>44135</c:v>
                      </c:pt>
                    </c:numCache>
                  </c:numRef>
                </c:cat>
                <c:val>
                  <c:numRef>
                    <c:extLst xmlns:c15="http://schemas.microsoft.com/office/drawing/2012/chart">
                      <c:ext xmlns:c15="http://schemas.microsoft.com/office/drawing/2012/chart" uri="{02D57815-91ED-43cb-92C2-25804820EDAC}">
                        <c15:formulaRef>
                          <c15:sqref>FlightTrack!$C$4:$C$307</c15:sqref>
                        </c15:formulaRef>
                      </c:ext>
                    </c:extLst>
                    <c:numCache>
                      <c:formatCode>0.00</c:formatCode>
                      <c:ptCount val="304"/>
                      <c:pt idx="0">
                        <c:v>108395</c:v>
                      </c:pt>
                      <c:pt idx="1">
                        <c:v>109083</c:v>
                      </c:pt>
                      <c:pt idx="2">
                        <c:v>109020</c:v>
                      </c:pt>
                      <c:pt idx="3">
                        <c:v>108889</c:v>
                      </c:pt>
                      <c:pt idx="4">
                        <c:v>109028</c:v>
                      </c:pt>
                      <c:pt idx="5">
                        <c:v>109401</c:v>
                      </c:pt>
                      <c:pt idx="6">
                        <c:v>110699</c:v>
                      </c:pt>
                      <c:pt idx="7">
                        <c:v>112784</c:v>
                      </c:pt>
                      <c:pt idx="8">
                        <c:v>113028</c:v>
                      </c:pt>
                      <c:pt idx="9">
                        <c:v>113094</c:v>
                      </c:pt>
                      <c:pt idx="10">
                        <c:v>112128</c:v>
                      </c:pt>
                      <c:pt idx="11">
                        <c:v>111337</c:v>
                      </c:pt>
                      <c:pt idx="12">
                        <c:v>111079</c:v>
                      </c:pt>
                      <c:pt idx="13">
                        <c:v>110793</c:v>
                      </c:pt>
                      <c:pt idx="14">
                        <c:v>111014</c:v>
                      </c:pt>
                      <c:pt idx="15">
                        <c:v>111126</c:v>
                      </c:pt>
                      <c:pt idx="16">
                        <c:v>111218</c:v>
                      </c:pt>
                      <c:pt idx="17">
                        <c:v>111329</c:v>
                      </c:pt>
                      <c:pt idx="18">
                        <c:v>111249</c:v>
                      </c:pt>
                      <c:pt idx="19">
                        <c:v>111451</c:v>
                      </c:pt>
                      <c:pt idx="20">
                        <c:v>111866</c:v>
                      </c:pt>
                      <c:pt idx="21">
                        <c:v>111905</c:v>
                      </c:pt>
                      <c:pt idx="22">
                        <c:v>111988</c:v>
                      </c:pt>
                      <c:pt idx="23">
                        <c:v>111692</c:v>
                      </c:pt>
                      <c:pt idx="24">
                        <c:v>111474</c:v>
                      </c:pt>
                      <c:pt idx="25">
                        <c:v>111437</c:v>
                      </c:pt>
                      <c:pt idx="26">
                        <c:v>111052</c:v>
                      </c:pt>
                      <c:pt idx="27">
                        <c:v>110365</c:v>
                      </c:pt>
                      <c:pt idx="28">
                        <c:v>109742</c:v>
                      </c:pt>
                      <c:pt idx="29">
                        <c:v>109033</c:v>
                      </c:pt>
                      <c:pt idx="30">
                        <c:v>108538</c:v>
                      </c:pt>
                      <c:pt idx="31">
                        <c:v>107920</c:v>
                      </c:pt>
                      <c:pt idx="32">
                        <c:v>106937</c:v>
                      </c:pt>
                      <c:pt idx="33">
                        <c:v>106023</c:v>
                      </c:pt>
                      <c:pt idx="34">
                        <c:v>105043</c:v>
                      </c:pt>
                      <c:pt idx="35">
                        <c:v>104168</c:v>
                      </c:pt>
                      <c:pt idx="36">
                        <c:v>103129</c:v>
                      </c:pt>
                      <c:pt idx="37">
                        <c:v>102282</c:v>
                      </c:pt>
                      <c:pt idx="38">
                        <c:v>102029</c:v>
                      </c:pt>
                      <c:pt idx="39">
                        <c:v>101403</c:v>
                      </c:pt>
                      <c:pt idx="40">
                        <c:v>100733</c:v>
                      </c:pt>
                      <c:pt idx="41">
                        <c:v>100466</c:v>
                      </c:pt>
                      <c:pt idx="42">
                        <c:v>100332</c:v>
                      </c:pt>
                      <c:pt idx="43">
                        <c:v>100395</c:v>
                      </c:pt>
                      <c:pt idx="44">
                        <c:v>100782</c:v>
                      </c:pt>
                      <c:pt idx="45">
                        <c:v>100772</c:v>
                      </c:pt>
                      <c:pt idx="46">
                        <c:v>100926</c:v>
                      </c:pt>
                      <c:pt idx="47">
                        <c:v>101059</c:v>
                      </c:pt>
                      <c:pt idx="48">
                        <c:v>101298</c:v>
                      </c:pt>
                      <c:pt idx="49">
                        <c:v>101705</c:v>
                      </c:pt>
                      <c:pt idx="50">
                        <c:v>101882</c:v>
                      </c:pt>
                      <c:pt idx="51">
                        <c:v>101872</c:v>
                      </c:pt>
                      <c:pt idx="52">
                        <c:v>102030</c:v>
                      </c:pt>
                      <c:pt idx="53">
                        <c:v>102449</c:v>
                      </c:pt>
                      <c:pt idx="54">
                        <c:v>102687</c:v>
                      </c:pt>
                      <c:pt idx="55">
                        <c:v>102799</c:v>
                      </c:pt>
                      <c:pt idx="56">
                        <c:v>102774</c:v>
                      </c:pt>
                      <c:pt idx="57">
                        <c:v>102910</c:v>
                      </c:pt>
                      <c:pt idx="58">
                        <c:v>102967</c:v>
                      </c:pt>
                      <c:pt idx="59">
                        <c:v>103397</c:v>
                      </c:pt>
                      <c:pt idx="60">
                        <c:v>103761</c:v>
                      </c:pt>
                      <c:pt idx="61">
                        <c:v>104001</c:v>
                      </c:pt>
                      <c:pt idx="62">
                        <c:v>104064</c:v>
                      </c:pt>
                      <c:pt idx="63">
                        <c:v>104161</c:v>
                      </c:pt>
                      <c:pt idx="64">
                        <c:v>104086</c:v>
                      </c:pt>
                      <c:pt idx="65">
                        <c:v>103987</c:v>
                      </c:pt>
                      <c:pt idx="66">
                        <c:v>103818</c:v>
                      </c:pt>
                      <c:pt idx="67">
                        <c:v>103299</c:v>
                      </c:pt>
                      <c:pt idx="68">
                        <c:v>102651</c:v>
                      </c:pt>
                      <c:pt idx="69">
                        <c:v>102116</c:v>
                      </c:pt>
                      <c:pt idx="70">
                        <c:v>101297</c:v>
                      </c:pt>
                      <c:pt idx="71">
                        <c:v>100363</c:v>
                      </c:pt>
                      <c:pt idx="72">
                        <c:v>99517</c:v>
                      </c:pt>
                      <c:pt idx="73">
                        <c:v>98288</c:v>
                      </c:pt>
                      <c:pt idx="74">
                        <c:v>96839</c:v>
                      </c:pt>
                      <c:pt idx="75">
                        <c:v>94822</c:v>
                      </c:pt>
                      <c:pt idx="76">
                        <c:v>91911</c:v>
                      </c:pt>
                      <c:pt idx="77">
                        <c:v>88365</c:v>
                      </c:pt>
                      <c:pt idx="78">
                        <c:v>84416</c:v>
                      </c:pt>
                      <c:pt idx="79">
                        <c:v>80479</c:v>
                      </c:pt>
                      <c:pt idx="80">
                        <c:v>75708</c:v>
                      </c:pt>
                      <c:pt idx="81">
                        <c:v>70288</c:v>
                      </c:pt>
                      <c:pt idx="82">
                        <c:v>65538</c:v>
                      </c:pt>
                      <c:pt idx="83">
                        <c:v>60743</c:v>
                      </c:pt>
                      <c:pt idx="84">
                        <c:v>56296</c:v>
                      </c:pt>
                      <c:pt idx="85">
                        <c:v>51832</c:v>
                      </c:pt>
                      <c:pt idx="86">
                        <c:v>48224</c:v>
                      </c:pt>
                      <c:pt idx="87">
                        <c:v>45042</c:v>
                      </c:pt>
                      <c:pt idx="88">
                        <c:v>42447</c:v>
                      </c:pt>
                      <c:pt idx="89">
                        <c:v>40332</c:v>
                      </c:pt>
                      <c:pt idx="90">
                        <c:v>38848</c:v>
                      </c:pt>
                      <c:pt idx="91">
                        <c:v>37193</c:v>
                      </c:pt>
                      <c:pt idx="92">
                        <c:v>35892</c:v>
                      </c:pt>
                      <c:pt idx="93">
                        <c:v>34566</c:v>
                      </c:pt>
                      <c:pt idx="94">
                        <c:v>33449</c:v>
                      </c:pt>
                      <c:pt idx="95">
                        <c:v>32699</c:v>
                      </c:pt>
                      <c:pt idx="96">
                        <c:v>31885</c:v>
                      </c:pt>
                      <c:pt idx="97">
                        <c:v>31214</c:v>
                      </c:pt>
                      <c:pt idx="98">
                        <c:v>30816</c:v>
                      </c:pt>
                      <c:pt idx="99">
                        <c:v>30167</c:v>
                      </c:pt>
                      <c:pt idx="100">
                        <c:v>29849</c:v>
                      </c:pt>
                      <c:pt idx="101">
                        <c:v>29442</c:v>
                      </c:pt>
                      <c:pt idx="102">
                        <c:v>28798</c:v>
                      </c:pt>
                      <c:pt idx="103">
                        <c:v>28502</c:v>
                      </c:pt>
                      <c:pt idx="104">
                        <c:v>28232</c:v>
                      </c:pt>
                      <c:pt idx="105">
                        <c:v>28028</c:v>
                      </c:pt>
                      <c:pt idx="106">
                        <c:v>28053</c:v>
                      </c:pt>
                      <c:pt idx="107">
                        <c:v>27969</c:v>
                      </c:pt>
                      <c:pt idx="108">
                        <c:v>27986</c:v>
                      </c:pt>
                      <c:pt idx="109">
                        <c:v>28086</c:v>
                      </c:pt>
                      <c:pt idx="110">
                        <c:v>27984</c:v>
                      </c:pt>
                      <c:pt idx="111">
                        <c:v>27997</c:v>
                      </c:pt>
                      <c:pt idx="112">
                        <c:v>28064</c:v>
                      </c:pt>
                      <c:pt idx="113">
                        <c:v>28152</c:v>
                      </c:pt>
                      <c:pt idx="114">
                        <c:v>28181</c:v>
                      </c:pt>
                      <c:pt idx="115">
                        <c:v>28181</c:v>
                      </c:pt>
                      <c:pt idx="116">
                        <c:v>28294</c:v>
                      </c:pt>
                      <c:pt idx="117">
                        <c:v>28500</c:v>
                      </c:pt>
                      <c:pt idx="118">
                        <c:v>28702</c:v>
                      </c:pt>
                      <c:pt idx="119">
                        <c:v>29097</c:v>
                      </c:pt>
                      <c:pt idx="120">
                        <c:v>29190</c:v>
                      </c:pt>
                      <c:pt idx="121">
                        <c:v>29212</c:v>
                      </c:pt>
                      <c:pt idx="122">
                        <c:v>29327</c:v>
                      </c:pt>
                      <c:pt idx="123">
                        <c:v>29658</c:v>
                      </c:pt>
                      <c:pt idx="124">
                        <c:v>30094</c:v>
                      </c:pt>
                      <c:pt idx="125">
                        <c:v>30359</c:v>
                      </c:pt>
                      <c:pt idx="126">
                        <c:v>30559</c:v>
                      </c:pt>
                      <c:pt idx="127">
                        <c:v>30980</c:v>
                      </c:pt>
                      <c:pt idx="128">
                        <c:v>31436</c:v>
                      </c:pt>
                      <c:pt idx="129">
                        <c:v>31878</c:v>
                      </c:pt>
                      <c:pt idx="130">
                        <c:v>32198</c:v>
                      </c:pt>
                      <c:pt idx="131">
                        <c:v>32274</c:v>
                      </c:pt>
                      <c:pt idx="132">
                        <c:v>32543</c:v>
                      </c:pt>
                      <c:pt idx="133">
                        <c:v>32783</c:v>
                      </c:pt>
                      <c:pt idx="134">
                        <c:v>33116</c:v>
                      </c:pt>
                      <c:pt idx="135">
                        <c:v>33387</c:v>
                      </c:pt>
                      <c:pt idx="136">
                        <c:v>33638</c:v>
                      </c:pt>
                      <c:pt idx="137">
                        <c:v>33839</c:v>
                      </c:pt>
                      <c:pt idx="138">
                        <c:v>34085</c:v>
                      </c:pt>
                      <c:pt idx="139">
                        <c:v>34499</c:v>
                      </c:pt>
                      <c:pt idx="140">
                        <c:v>34755</c:v>
                      </c:pt>
                      <c:pt idx="141">
                        <c:v>35046</c:v>
                      </c:pt>
                      <c:pt idx="142">
                        <c:v>35221</c:v>
                      </c:pt>
                      <c:pt idx="143">
                        <c:v>35255</c:v>
                      </c:pt>
                      <c:pt idx="144">
                        <c:v>35245</c:v>
                      </c:pt>
                      <c:pt idx="145">
                        <c:v>35139</c:v>
                      </c:pt>
                      <c:pt idx="146">
                        <c:v>35228</c:v>
                      </c:pt>
                      <c:pt idx="147">
                        <c:v>35417</c:v>
                      </c:pt>
                      <c:pt idx="148">
                        <c:v>35657</c:v>
                      </c:pt>
                      <c:pt idx="149">
                        <c:v>35870</c:v>
                      </c:pt>
                      <c:pt idx="150">
                        <c:v>36387</c:v>
                      </c:pt>
                      <c:pt idx="151">
                        <c:v>37170</c:v>
                      </c:pt>
                      <c:pt idx="152">
                        <c:v>38086</c:v>
                      </c:pt>
                      <c:pt idx="153">
                        <c:v>38632</c:v>
                      </c:pt>
                      <c:pt idx="154">
                        <c:v>39257</c:v>
                      </c:pt>
                      <c:pt idx="155">
                        <c:v>39936</c:v>
                      </c:pt>
                      <c:pt idx="156">
                        <c:v>40552</c:v>
                      </c:pt>
                      <c:pt idx="157">
                        <c:v>41167</c:v>
                      </c:pt>
                      <c:pt idx="158">
                        <c:v>41649</c:v>
                      </c:pt>
                      <c:pt idx="159">
                        <c:v>41968</c:v>
                      </c:pt>
                      <c:pt idx="160">
                        <c:v>42440</c:v>
                      </c:pt>
                      <c:pt idx="161">
                        <c:v>42964</c:v>
                      </c:pt>
                      <c:pt idx="162">
                        <c:v>43438</c:v>
                      </c:pt>
                      <c:pt idx="163">
                        <c:v>43795</c:v>
                      </c:pt>
                      <c:pt idx="164">
                        <c:v>44233</c:v>
                      </c:pt>
                      <c:pt idx="165">
                        <c:v>44843</c:v>
                      </c:pt>
                      <c:pt idx="166">
                        <c:v>45357</c:v>
                      </c:pt>
                      <c:pt idx="167">
                        <c:v>45658</c:v>
                      </c:pt>
                      <c:pt idx="168">
                        <c:v>45987</c:v>
                      </c:pt>
                      <c:pt idx="169">
                        <c:v>46274</c:v>
                      </c:pt>
                      <c:pt idx="170">
                        <c:v>46731</c:v>
                      </c:pt>
                      <c:pt idx="171">
                        <c:v>47056</c:v>
                      </c:pt>
                      <c:pt idx="172">
                        <c:v>47348</c:v>
                      </c:pt>
                      <c:pt idx="173">
                        <c:v>47638</c:v>
                      </c:pt>
                      <c:pt idx="174">
                        <c:v>48161</c:v>
                      </c:pt>
                      <c:pt idx="175">
                        <c:v>48465</c:v>
                      </c:pt>
                      <c:pt idx="176">
                        <c:v>48667</c:v>
                      </c:pt>
                      <c:pt idx="177">
                        <c:v>48996</c:v>
                      </c:pt>
                      <c:pt idx="178">
                        <c:v>49318</c:v>
                      </c:pt>
                      <c:pt idx="179">
                        <c:v>49428</c:v>
                      </c:pt>
                      <c:pt idx="180">
                        <c:v>49717</c:v>
                      </c:pt>
                      <c:pt idx="181">
                        <c:v>50376</c:v>
                      </c:pt>
                      <c:pt idx="182">
                        <c:v>51388</c:v>
                      </c:pt>
                      <c:pt idx="183">
                        <c:v>52535</c:v>
                      </c:pt>
                      <c:pt idx="184">
                        <c:v>52930</c:v>
                      </c:pt>
                      <c:pt idx="185">
                        <c:v>53945</c:v>
                      </c:pt>
                      <c:pt idx="186">
                        <c:v>55184</c:v>
                      </c:pt>
                      <c:pt idx="187">
                        <c:v>56268</c:v>
                      </c:pt>
                      <c:pt idx="188">
                        <c:v>56872</c:v>
                      </c:pt>
                      <c:pt idx="189">
                        <c:v>57476</c:v>
                      </c:pt>
                      <c:pt idx="190">
                        <c:v>58276</c:v>
                      </c:pt>
                      <c:pt idx="191">
                        <c:v>59591</c:v>
                      </c:pt>
                      <c:pt idx="192">
                        <c:v>60271</c:v>
                      </c:pt>
                      <c:pt idx="193">
                        <c:v>60759</c:v>
                      </c:pt>
                      <c:pt idx="194">
                        <c:v>61134</c:v>
                      </c:pt>
                      <c:pt idx="195">
                        <c:v>61770</c:v>
                      </c:pt>
                      <c:pt idx="196">
                        <c:v>62281</c:v>
                      </c:pt>
                      <c:pt idx="197">
                        <c:v>62673</c:v>
                      </c:pt>
                      <c:pt idx="198">
                        <c:v>63197</c:v>
                      </c:pt>
                      <c:pt idx="199">
                        <c:v>63641</c:v>
                      </c:pt>
                      <c:pt idx="200">
                        <c:v>63920</c:v>
                      </c:pt>
                      <c:pt idx="201">
                        <c:v>63934</c:v>
                      </c:pt>
                      <c:pt idx="202">
                        <c:v>63671</c:v>
                      </c:pt>
                      <c:pt idx="203">
                        <c:v>63546</c:v>
                      </c:pt>
                      <c:pt idx="204">
                        <c:v>63474</c:v>
                      </c:pt>
                      <c:pt idx="205">
                        <c:v>63462</c:v>
                      </c:pt>
                      <c:pt idx="206">
                        <c:v>63442</c:v>
                      </c:pt>
                      <c:pt idx="207">
                        <c:v>63360</c:v>
                      </c:pt>
                      <c:pt idx="208">
                        <c:v>63448</c:v>
                      </c:pt>
                      <c:pt idx="209">
                        <c:v>62644</c:v>
                      </c:pt>
                      <c:pt idx="210">
                        <c:v>62462</c:v>
                      </c:pt>
                      <c:pt idx="211">
                        <c:v>62496</c:v>
                      </c:pt>
                      <c:pt idx="212">
                        <c:v>62825</c:v>
                      </c:pt>
                      <c:pt idx="213">
                        <c:v>63161</c:v>
                      </c:pt>
                      <c:pt idx="214">
                        <c:v>63600</c:v>
                      </c:pt>
                      <c:pt idx="215">
                        <c:v>63867</c:v>
                      </c:pt>
                      <c:pt idx="216">
                        <c:v>65128</c:v>
                      </c:pt>
                      <c:pt idx="217">
                        <c:v>65764</c:v>
                      </c:pt>
                      <c:pt idx="218">
                        <c:v>66260</c:v>
                      </c:pt>
                      <c:pt idx="219">
                        <c:v>66477</c:v>
                      </c:pt>
                      <c:pt idx="220">
                        <c:v>66732</c:v>
                      </c:pt>
                      <c:pt idx="221">
                        <c:v>67045</c:v>
                      </c:pt>
                      <c:pt idx="222">
                        <c:v>67451</c:v>
                      </c:pt>
                      <c:pt idx="223">
                        <c:v>67652</c:v>
                      </c:pt>
                      <c:pt idx="224">
                        <c:v>67892</c:v>
                      </c:pt>
                      <c:pt idx="225">
                        <c:v>68095</c:v>
                      </c:pt>
                      <c:pt idx="226">
                        <c:v>68294</c:v>
                      </c:pt>
                      <c:pt idx="227">
                        <c:v>68465</c:v>
                      </c:pt>
                      <c:pt idx="228">
                        <c:v>68623</c:v>
                      </c:pt>
                      <c:pt idx="229">
                        <c:v>68682</c:v>
                      </c:pt>
                      <c:pt idx="230">
                        <c:v>68688</c:v>
                      </c:pt>
                      <c:pt idx="231">
                        <c:v>68843</c:v>
                      </c:pt>
                      <c:pt idx="232">
                        <c:v>68818</c:v>
                      </c:pt>
                      <c:pt idx="233">
                        <c:v>68813</c:v>
                      </c:pt>
                      <c:pt idx="234">
                        <c:v>68943</c:v>
                      </c:pt>
                      <c:pt idx="235">
                        <c:v>68916</c:v>
                      </c:pt>
                      <c:pt idx="236">
                        <c:v>68899</c:v>
                      </c:pt>
                      <c:pt idx="237">
                        <c:v>68832</c:v>
                      </c:pt>
                      <c:pt idx="238">
                        <c:v>68706</c:v>
                      </c:pt>
                      <c:pt idx="239">
                        <c:v>68775</c:v>
                      </c:pt>
                      <c:pt idx="240">
                        <c:v>68691</c:v>
                      </c:pt>
                      <c:pt idx="241">
                        <c:v>68561</c:v>
                      </c:pt>
                      <c:pt idx="242">
                        <c:v>68551</c:v>
                      </c:pt>
                      <c:pt idx="243">
                        <c:v>68442</c:v>
                      </c:pt>
                      <c:pt idx="244">
                        <c:v>68445</c:v>
                      </c:pt>
                      <c:pt idx="245">
                        <c:v>68581</c:v>
                      </c:pt>
                      <c:pt idx="246">
                        <c:v>68789</c:v>
                      </c:pt>
                      <c:pt idx="247">
                        <c:v>68605</c:v>
                      </c:pt>
                      <c:pt idx="248">
                        <c:v>68125</c:v>
                      </c:pt>
                      <c:pt idx="249">
                        <c:v>67841</c:v>
                      </c:pt>
                      <c:pt idx="250">
                        <c:v>67692</c:v>
                      </c:pt>
                      <c:pt idx="251">
                        <c:v>67850</c:v>
                      </c:pt>
                      <c:pt idx="252">
                        <c:v>67877</c:v>
                      </c:pt>
                      <c:pt idx="253">
                        <c:v>67700</c:v>
                      </c:pt>
                      <c:pt idx="254">
                        <c:v>67735</c:v>
                      </c:pt>
                      <c:pt idx="255">
                        <c:v>68245</c:v>
                      </c:pt>
                      <c:pt idx="256">
                        <c:v>68501</c:v>
                      </c:pt>
                      <c:pt idx="257">
                        <c:v>68843</c:v>
                      </c:pt>
                      <c:pt idx="258">
                        <c:v>69008</c:v>
                      </c:pt>
                      <c:pt idx="259">
                        <c:v>69029</c:v>
                      </c:pt>
                      <c:pt idx="260">
                        <c:v>69143</c:v>
                      </c:pt>
                      <c:pt idx="261">
                        <c:v>69278</c:v>
                      </c:pt>
                      <c:pt idx="262">
                        <c:v>69342</c:v>
                      </c:pt>
                      <c:pt idx="263">
                        <c:v>69378</c:v>
                      </c:pt>
                      <c:pt idx="264">
                        <c:v>69404</c:v>
                      </c:pt>
                      <c:pt idx="265">
                        <c:v>69428</c:v>
                      </c:pt>
                      <c:pt idx="266">
                        <c:v>69541</c:v>
                      </c:pt>
                      <c:pt idx="267">
                        <c:v>69575</c:v>
                      </c:pt>
                      <c:pt idx="268">
                        <c:v>69513</c:v>
                      </c:pt>
                      <c:pt idx="269">
                        <c:v>69504</c:v>
                      </c:pt>
                      <c:pt idx="270">
                        <c:v>68806</c:v>
                      </c:pt>
                      <c:pt idx="271">
                        <c:v>67865</c:v>
                      </c:pt>
                      <c:pt idx="272">
                        <c:v>67825</c:v>
                      </c:pt>
                      <c:pt idx="273">
                        <c:v>67837</c:v>
                      </c:pt>
                      <c:pt idx="274">
                        <c:v>67776</c:v>
                      </c:pt>
                      <c:pt idx="275">
                        <c:v>67660</c:v>
                      </c:pt>
                      <c:pt idx="276">
                        <c:v>67431</c:v>
                      </c:pt>
                      <c:pt idx="277">
                        <c:v>68009</c:v>
                      </c:pt>
                      <c:pt idx="278">
                        <c:v>68763</c:v>
                      </c:pt>
                      <c:pt idx="279">
                        <c:v>68571</c:v>
                      </c:pt>
                      <c:pt idx="280">
                        <c:v>68549</c:v>
                      </c:pt>
                      <c:pt idx="281">
                        <c:v>68596</c:v>
                      </c:pt>
                      <c:pt idx="282">
                        <c:v>68643</c:v>
                      </c:pt>
                      <c:pt idx="283">
                        <c:v>68694</c:v>
                      </c:pt>
                      <c:pt idx="284">
                        <c:v>68727</c:v>
                      </c:pt>
                      <c:pt idx="285">
                        <c:v>68674</c:v>
                      </c:pt>
                      <c:pt idx="286">
                        <c:v>68763</c:v>
                      </c:pt>
                      <c:pt idx="287">
                        <c:v>68650</c:v>
                      </c:pt>
                      <c:pt idx="288">
                        <c:v>68687</c:v>
                      </c:pt>
                      <c:pt idx="289">
                        <c:v>68714</c:v>
                      </c:pt>
                      <c:pt idx="290">
                        <c:v>68820</c:v>
                      </c:pt>
                      <c:pt idx="291">
                        <c:v>68754</c:v>
                      </c:pt>
                      <c:pt idx="292">
                        <c:v>68572</c:v>
                      </c:pt>
                      <c:pt idx="293">
                        <c:v>68172</c:v>
                      </c:pt>
                      <c:pt idx="294">
                        <c:v>67978</c:v>
                      </c:pt>
                      <c:pt idx="295">
                        <c:v>67720</c:v>
                      </c:pt>
                      <c:pt idx="296">
                        <c:v>67468</c:v>
                      </c:pt>
                      <c:pt idx="297">
                        <c:v>67106</c:v>
                      </c:pt>
                      <c:pt idx="298">
                        <c:v>66965</c:v>
                      </c:pt>
                      <c:pt idx="299">
                        <c:v>66999</c:v>
                      </c:pt>
                      <c:pt idx="300">
                        <c:v>67058</c:v>
                      </c:pt>
                      <c:pt idx="301">
                        <c:v>66949</c:v>
                      </c:pt>
                      <c:pt idx="302">
                        <c:v>67071</c:v>
                      </c:pt>
                      <c:pt idx="303">
                        <c:v>66972</c:v>
                      </c:pt>
                    </c:numCache>
                  </c:numRef>
                </c:val>
                <c:smooth val="0"/>
                <c:extLst xmlns:c15="http://schemas.microsoft.com/office/drawing/2012/chart">
                  <c:ext xmlns:c16="http://schemas.microsoft.com/office/drawing/2014/chart" uri="{C3380CC4-5D6E-409C-BE32-E72D297353CC}">
                    <c16:uniqueId val="{00000007-7B4D-461F-89A0-59B01E9201BC}"/>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FlightTrack!#REF!</c15:sqref>
                        </c15:formulaRef>
                      </c:ext>
                    </c:extLst>
                    <c:strCache>
                      <c:ptCount val="1"/>
                      <c:pt idx="0">
                        <c:v>#REF!</c:v>
                      </c:pt>
                    </c:strCache>
                  </c:strRef>
                </c:tx>
                <c:spPr>
                  <a:ln w="28575" cap="rnd">
                    <a:solidFill>
                      <a:schemeClr val="accent3">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FlightTrack!$A$4:$A$307</c15:sqref>
                        </c15:formulaRef>
                      </c:ext>
                    </c:extLst>
                    <c:numCache>
                      <c:formatCode>[$-40C]d\-mmm;@</c:formatCode>
                      <c:ptCount val="304"/>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1</c:v>
                      </c:pt>
                      <c:pt idx="60">
                        <c:v>43892</c:v>
                      </c:pt>
                      <c:pt idx="61">
                        <c:v>43893</c:v>
                      </c:pt>
                      <c:pt idx="62">
                        <c:v>43894</c:v>
                      </c:pt>
                      <c:pt idx="63">
                        <c:v>43895</c:v>
                      </c:pt>
                      <c:pt idx="64">
                        <c:v>43896</c:v>
                      </c:pt>
                      <c:pt idx="65">
                        <c:v>43897</c:v>
                      </c:pt>
                      <c:pt idx="66">
                        <c:v>43898</c:v>
                      </c:pt>
                      <c:pt idx="67">
                        <c:v>43899</c:v>
                      </c:pt>
                      <c:pt idx="68">
                        <c:v>43900</c:v>
                      </c:pt>
                      <c:pt idx="69">
                        <c:v>43901</c:v>
                      </c:pt>
                      <c:pt idx="70">
                        <c:v>43902</c:v>
                      </c:pt>
                      <c:pt idx="71">
                        <c:v>43903</c:v>
                      </c:pt>
                      <c:pt idx="72">
                        <c:v>43904</c:v>
                      </c:pt>
                      <c:pt idx="73">
                        <c:v>43905</c:v>
                      </c:pt>
                      <c:pt idx="74">
                        <c:v>43906</c:v>
                      </c:pt>
                      <c:pt idx="75">
                        <c:v>43907</c:v>
                      </c:pt>
                      <c:pt idx="76">
                        <c:v>43908</c:v>
                      </c:pt>
                      <c:pt idx="77">
                        <c:v>43909</c:v>
                      </c:pt>
                      <c:pt idx="78">
                        <c:v>43910</c:v>
                      </c:pt>
                      <c:pt idx="79">
                        <c:v>43911</c:v>
                      </c:pt>
                      <c:pt idx="80">
                        <c:v>43912</c:v>
                      </c:pt>
                      <c:pt idx="81">
                        <c:v>43913</c:v>
                      </c:pt>
                      <c:pt idx="82">
                        <c:v>43914</c:v>
                      </c:pt>
                      <c:pt idx="83">
                        <c:v>43915</c:v>
                      </c:pt>
                      <c:pt idx="84">
                        <c:v>43916</c:v>
                      </c:pt>
                      <c:pt idx="85">
                        <c:v>43917</c:v>
                      </c:pt>
                      <c:pt idx="86">
                        <c:v>43918</c:v>
                      </c:pt>
                      <c:pt idx="87">
                        <c:v>43919</c:v>
                      </c:pt>
                      <c:pt idx="88">
                        <c:v>43920</c:v>
                      </c:pt>
                      <c:pt idx="89">
                        <c:v>43921</c:v>
                      </c:pt>
                      <c:pt idx="90">
                        <c:v>43922</c:v>
                      </c:pt>
                      <c:pt idx="91">
                        <c:v>43923</c:v>
                      </c:pt>
                      <c:pt idx="92">
                        <c:v>43924</c:v>
                      </c:pt>
                      <c:pt idx="93">
                        <c:v>43925</c:v>
                      </c:pt>
                      <c:pt idx="94">
                        <c:v>43926</c:v>
                      </c:pt>
                      <c:pt idx="95">
                        <c:v>43927</c:v>
                      </c:pt>
                      <c:pt idx="96">
                        <c:v>43928</c:v>
                      </c:pt>
                      <c:pt idx="97">
                        <c:v>43929</c:v>
                      </c:pt>
                      <c:pt idx="98">
                        <c:v>43930</c:v>
                      </c:pt>
                      <c:pt idx="99">
                        <c:v>43931</c:v>
                      </c:pt>
                      <c:pt idx="100">
                        <c:v>43932</c:v>
                      </c:pt>
                      <c:pt idx="101">
                        <c:v>43933</c:v>
                      </c:pt>
                      <c:pt idx="102">
                        <c:v>43934</c:v>
                      </c:pt>
                      <c:pt idx="103">
                        <c:v>43935</c:v>
                      </c:pt>
                      <c:pt idx="104">
                        <c:v>43936</c:v>
                      </c:pt>
                      <c:pt idx="105">
                        <c:v>43937</c:v>
                      </c:pt>
                      <c:pt idx="106">
                        <c:v>43938</c:v>
                      </c:pt>
                      <c:pt idx="107">
                        <c:v>43939</c:v>
                      </c:pt>
                      <c:pt idx="108">
                        <c:v>43940</c:v>
                      </c:pt>
                      <c:pt idx="109">
                        <c:v>43941</c:v>
                      </c:pt>
                      <c:pt idx="110">
                        <c:v>43942</c:v>
                      </c:pt>
                      <c:pt idx="111">
                        <c:v>43943</c:v>
                      </c:pt>
                      <c:pt idx="112">
                        <c:v>43944</c:v>
                      </c:pt>
                      <c:pt idx="113">
                        <c:v>43945</c:v>
                      </c:pt>
                      <c:pt idx="114">
                        <c:v>43946</c:v>
                      </c:pt>
                      <c:pt idx="115">
                        <c:v>43947</c:v>
                      </c:pt>
                      <c:pt idx="116">
                        <c:v>43948</c:v>
                      </c:pt>
                      <c:pt idx="117">
                        <c:v>43949</c:v>
                      </c:pt>
                      <c:pt idx="118">
                        <c:v>43950</c:v>
                      </c:pt>
                      <c:pt idx="119">
                        <c:v>43951</c:v>
                      </c:pt>
                      <c:pt idx="120">
                        <c:v>43952</c:v>
                      </c:pt>
                      <c:pt idx="121">
                        <c:v>43953</c:v>
                      </c:pt>
                      <c:pt idx="122">
                        <c:v>43954</c:v>
                      </c:pt>
                      <c:pt idx="123">
                        <c:v>43955</c:v>
                      </c:pt>
                      <c:pt idx="124">
                        <c:v>43956</c:v>
                      </c:pt>
                      <c:pt idx="125">
                        <c:v>43957</c:v>
                      </c:pt>
                      <c:pt idx="126">
                        <c:v>43958</c:v>
                      </c:pt>
                      <c:pt idx="127">
                        <c:v>43959</c:v>
                      </c:pt>
                      <c:pt idx="128">
                        <c:v>43960</c:v>
                      </c:pt>
                      <c:pt idx="129">
                        <c:v>43961</c:v>
                      </c:pt>
                      <c:pt idx="130">
                        <c:v>43962</c:v>
                      </c:pt>
                      <c:pt idx="131">
                        <c:v>43963</c:v>
                      </c:pt>
                      <c:pt idx="132">
                        <c:v>43964</c:v>
                      </c:pt>
                      <c:pt idx="133">
                        <c:v>43965</c:v>
                      </c:pt>
                      <c:pt idx="134">
                        <c:v>43966</c:v>
                      </c:pt>
                      <c:pt idx="135">
                        <c:v>43967</c:v>
                      </c:pt>
                      <c:pt idx="136">
                        <c:v>43968</c:v>
                      </c:pt>
                      <c:pt idx="137">
                        <c:v>43969</c:v>
                      </c:pt>
                      <c:pt idx="138">
                        <c:v>43970</c:v>
                      </c:pt>
                      <c:pt idx="139">
                        <c:v>43971</c:v>
                      </c:pt>
                      <c:pt idx="140">
                        <c:v>43972</c:v>
                      </c:pt>
                      <c:pt idx="141">
                        <c:v>43973</c:v>
                      </c:pt>
                      <c:pt idx="142">
                        <c:v>43974</c:v>
                      </c:pt>
                      <c:pt idx="143">
                        <c:v>43975</c:v>
                      </c:pt>
                      <c:pt idx="144">
                        <c:v>43976</c:v>
                      </c:pt>
                      <c:pt idx="145">
                        <c:v>43977</c:v>
                      </c:pt>
                      <c:pt idx="146">
                        <c:v>43978</c:v>
                      </c:pt>
                      <c:pt idx="147">
                        <c:v>43979</c:v>
                      </c:pt>
                      <c:pt idx="148">
                        <c:v>43980</c:v>
                      </c:pt>
                      <c:pt idx="149">
                        <c:v>43981</c:v>
                      </c:pt>
                      <c:pt idx="150">
                        <c:v>43982</c:v>
                      </c:pt>
                      <c:pt idx="151">
                        <c:v>43983</c:v>
                      </c:pt>
                      <c:pt idx="152">
                        <c:v>43984</c:v>
                      </c:pt>
                      <c:pt idx="153">
                        <c:v>43985</c:v>
                      </c:pt>
                      <c:pt idx="154">
                        <c:v>43986</c:v>
                      </c:pt>
                      <c:pt idx="155">
                        <c:v>43987</c:v>
                      </c:pt>
                      <c:pt idx="156">
                        <c:v>43988</c:v>
                      </c:pt>
                      <c:pt idx="157">
                        <c:v>43989</c:v>
                      </c:pt>
                      <c:pt idx="158">
                        <c:v>43990</c:v>
                      </c:pt>
                      <c:pt idx="159">
                        <c:v>43991</c:v>
                      </c:pt>
                      <c:pt idx="160">
                        <c:v>43992</c:v>
                      </c:pt>
                      <c:pt idx="161">
                        <c:v>43993</c:v>
                      </c:pt>
                      <c:pt idx="162">
                        <c:v>43994</c:v>
                      </c:pt>
                      <c:pt idx="163">
                        <c:v>43995</c:v>
                      </c:pt>
                      <c:pt idx="164">
                        <c:v>43996</c:v>
                      </c:pt>
                      <c:pt idx="165">
                        <c:v>43997</c:v>
                      </c:pt>
                      <c:pt idx="166">
                        <c:v>43998</c:v>
                      </c:pt>
                      <c:pt idx="167">
                        <c:v>43999</c:v>
                      </c:pt>
                      <c:pt idx="168">
                        <c:v>44000</c:v>
                      </c:pt>
                      <c:pt idx="169">
                        <c:v>44001</c:v>
                      </c:pt>
                      <c:pt idx="170">
                        <c:v>44002</c:v>
                      </c:pt>
                      <c:pt idx="171">
                        <c:v>44003</c:v>
                      </c:pt>
                      <c:pt idx="172">
                        <c:v>44004</c:v>
                      </c:pt>
                      <c:pt idx="173">
                        <c:v>44005</c:v>
                      </c:pt>
                      <c:pt idx="174">
                        <c:v>44006</c:v>
                      </c:pt>
                      <c:pt idx="175">
                        <c:v>44007</c:v>
                      </c:pt>
                      <c:pt idx="176">
                        <c:v>44008</c:v>
                      </c:pt>
                      <c:pt idx="177">
                        <c:v>44009</c:v>
                      </c:pt>
                      <c:pt idx="178">
                        <c:v>44010</c:v>
                      </c:pt>
                      <c:pt idx="179">
                        <c:v>44011</c:v>
                      </c:pt>
                      <c:pt idx="180">
                        <c:v>44012</c:v>
                      </c:pt>
                      <c:pt idx="181">
                        <c:v>44013</c:v>
                      </c:pt>
                      <c:pt idx="182">
                        <c:v>44014</c:v>
                      </c:pt>
                      <c:pt idx="183">
                        <c:v>44015</c:v>
                      </c:pt>
                      <c:pt idx="184">
                        <c:v>44016</c:v>
                      </c:pt>
                      <c:pt idx="185">
                        <c:v>44017</c:v>
                      </c:pt>
                      <c:pt idx="186">
                        <c:v>44018</c:v>
                      </c:pt>
                      <c:pt idx="187">
                        <c:v>44019</c:v>
                      </c:pt>
                      <c:pt idx="188">
                        <c:v>44020</c:v>
                      </c:pt>
                      <c:pt idx="189">
                        <c:v>44021</c:v>
                      </c:pt>
                      <c:pt idx="190">
                        <c:v>44022</c:v>
                      </c:pt>
                      <c:pt idx="191">
                        <c:v>44023</c:v>
                      </c:pt>
                      <c:pt idx="192">
                        <c:v>44024</c:v>
                      </c:pt>
                      <c:pt idx="193">
                        <c:v>44025</c:v>
                      </c:pt>
                      <c:pt idx="194">
                        <c:v>44026</c:v>
                      </c:pt>
                      <c:pt idx="195">
                        <c:v>44027</c:v>
                      </c:pt>
                      <c:pt idx="196">
                        <c:v>44028</c:v>
                      </c:pt>
                      <c:pt idx="197">
                        <c:v>44029</c:v>
                      </c:pt>
                      <c:pt idx="198">
                        <c:v>44030</c:v>
                      </c:pt>
                      <c:pt idx="199">
                        <c:v>44031</c:v>
                      </c:pt>
                      <c:pt idx="200">
                        <c:v>44032</c:v>
                      </c:pt>
                      <c:pt idx="201">
                        <c:v>44033</c:v>
                      </c:pt>
                      <c:pt idx="202">
                        <c:v>44034</c:v>
                      </c:pt>
                      <c:pt idx="203">
                        <c:v>44035</c:v>
                      </c:pt>
                      <c:pt idx="204">
                        <c:v>44036</c:v>
                      </c:pt>
                      <c:pt idx="205">
                        <c:v>44037</c:v>
                      </c:pt>
                      <c:pt idx="206">
                        <c:v>44038</c:v>
                      </c:pt>
                      <c:pt idx="207">
                        <c:v>44039</c:v>
                      </c:pt>
                      <c:pt idx="208">
                        <c:v>44040</c:v>
                      </c:pt>
                      <c:pt idx="209">
                        <c:v>44041</c:v>
                      </c:pt>
                      <c:pt idx="210">
                        <c:v>44042</c:v>
                      </c:pt>
                      <c:pt idx="211">
                        <c:v>44043</c:v>
                      </c:pt>
                      <c:pt idx="212">
                        <c:v>44044</c:v>
                      </c:pt>
                      <c:pt idx="213">
                        <c:v>44045</c:v>
                      </c:pt>
                      <c:pt idx="214">
                        <c:v>44046</c:v>
                      </c:pt>
                      <c:pt idx="215">
                        <c:v>44047</c:v>
                      </c:pt>
                      <c:pt idx="216">
                        <c:v>44048</c:v>
                      </c:pt>
                      <c:pt idx="217">
                        <c:v>44049</c:v>
                      </c:pt>
                      <c:pt idx="218">
                        <c:v>44050</c:v>
                      </c:pt>
                      <c:pt idx="219">
                        <c:v>44051</c:v>
                      </c:pt>
                      <c:pt idx="220">
                        <c:v>44052</c:v>
                      </c:pt>
                      <c:pt idx="221">
                        <c:v>44053</c:v>
                      </c:pt>
                      <c:pt idx="222">
                        <c:v>44054</c:v>
                      </c:pt>
                      <c:pt idx="223">
                        <c:v>44055</c:v>
                      </c:pt>
                      <c:pt idx="224">
                        <c:v>44056</c:v>
                      </c:pt>
                      <c:pt idx="225">
                        <c:v>44057</c:v>
                      </c:pt>
                      <c:pt idx="226">
                        <c:v>44058</c:v>
                      </c:pt>
                      <c:pt idx="227">
                        <c:v>44059</c:v>
                      </c:pt>
                      <c:pt idx="228">
                        <c:v>44060</c:v>
                      </c:pt>
                      <c:pt idx="229">
                        <c:v>44061</c:v>
                      </c:pt>
                      <c:pt idx="230">
                        <c:v>44062</c:v>
                      </c:pt>
                      <c:pt idx="231">
                        <c:v>44063</c:v>
                      </c:pt>
                      <c:pt idx="232">
                        <c:v>44064</c:v>
                      </c:pt>
                      <c:pt idx="233">
                        <c:v>44065</c:v>
                      </c:pt>
                      <c:pt idx="234">
                        <c:v>44066</c:v>
                      </c:pt>
                      <c:pt idx="235">
                        <c:v>44067</c:v>
                      </c:pt>
                      <c:pt idx="236">
                        <c:v>44068</c:v>
                      </c:pt>
                      <c:pt idx="237">
                        <c:v>44069</c:v>
                      </c:pt>
                      <c:pt idx="238">
                        <c:v>44070</c:v>
                      </c:pt>
                      <c:pt idx="239">
                        <c:v>44071</c:v>
                      </c:pt>
                      <c:pt idx="240">
                        <c:v>44072</c:v>
                      </c:pt>
                      <c:pt idx="241">
                        <c:v>44073</c:v>
                      </c:pt>
                      <c:pt idx="242">
                        <c:v>44074</c:v>
                      </c:pt>
                      <c:pt idx="243">
                        <c:v>44075</c:v>
                      </c:pt>
                      <c:pt idx="244">
                        <c:v>44076</c:v>
                      </c:pt>
                      <c:pt idx="245">
                        <c:v>44077</c:v>
                      </c:pt>
                      <c:pt idx="246">
                        <c:v>44078</c:v>
                      </c:pt>
                      <c:pt idx="247">
                        <c:v>44079</c:v>
                      </c:pt>
                      <c:pt idx="248">
                        <c:v>44080</c:v>
                      </c:pt>
                      <c:pt idx="249">
                        <c:v>44081</c:v>
                      </c:pt>
                      <c:pt idx="250">
                        <c:v>44082</c:v>
                      </c:pt>
                      <c:pt idx="251">
                        <c:v>44083</c:v>
                      </c:pt>
                      <c:pt idx="252">
                        <c:v>44084</c:v>
                      </c:pt>
                      <c:pt idx="253">
                        <c:v>44085</c:v>
                      </c:pt>
                      <c:pt idx="254">
                        <c:v>44086</c:v>
                      </c:pt>
                      <c:pt idx="255">
                        <c:v>44087</c:v>
                      </c:pt>
                      <c:pt idx="256">
                        <c:v>44088</c:v>
                      </c:pt>
                      <c:pt idx="257">
                        <c:v>44089</c:v>
                      </c:pt>
                      <c:pt idx="258">
                        <c:v>44090</c:v>
                      </c:pt>
                      <c:pt idx="259">
                        <c:v>44091</c:v>
                      </c:pt>
                      <c:pt idx="260">
                        <c:v>44092</c:v>
                      </c:pt>
                      <c:pt idx="261">
                        <c:v>44093</c:v>
                      </c:pt>
                      <c:pt idx="262">
                        <c:v>44094</c:v>
                      </c:pt>
                      <c:pt idx="263">
                        <c:v>44095</c:v>
                      </c:pt>
                      <c:pt idx="264">
                        <c:v>44096</c:v>
                      </c:pt>
                      <c:pt idx="265">
                        <c:v>44097</c:v>
                      </c:pt>
                      <c:pt idx="266">
                        <c:v>44098</c:v>
                      </c:pt>
                      <c:pt idx="267">
                        <c:v>44099</c:v>
                      </c:pt>
                      <c:pt idx="268">
                        <c:v>44100</c:v>
                      </c:pt>
                      <c:pt idx="269">
                        <c:v>44101</c:v>
                      </c:pt>
                      <c:pt idx="270">
                        <c:v>44102</c:v>
                      </c:pt>
                      <c:pt idx="271">
                        <c:v>44103</c:v>
                      </c:pt>
                      <c:pt idx="272">
                        <c:v>44104</c:v>
                      </c:pt>
                      <c:pt idx="273">
                        <c:v>44105</c:v>
                      </c:pt>
                      <c:pt idx="274">
                        <c:v>44106</c:v>
                      </c:pt>
                      <c:pt idx="275">
                        <c:v>44107</c:v>
                      </c:pt>
                      <c:pt idx="276">
                        <c:v>44108</c:v>
                      </c:pt>
                      <c:pt idx="277">
                        <c:v>44109</c:v>
                      </c:pt>
                      <c:pt idx="278">
                        <c:v>44110</c:v>
                      </c:pt>
                      <c:pt idx="279">
                        <c:v>44111</c:v>
                      </c:pt>
                      <c:pt idx="280">
                        <c:v>44112</c:v>
                      </c:pt>
                      <c:pt idx="281">
                        <c:v>44113</c:v>
                      </c:pt>
                      <c:pt idx="282">
                        <c:v>44114</c:v>
                      </c:pt>
                      <c:pt idx="283">
                        <c:v>44115</c:v>
                      </c:pt>
                      <c:pt idx="284">
                        <c:v>44116</c:v>
                      </c:pt>
                      <c:pt idx="285">
                        <c:v>44117</c:v>
                      </c:pt>
                      <c:pt idx="286">
                        <c:v>44118</c:v>
                      </c:pt>
                      <c:pt idx="287">
                        <c:v>44119</c:v>
                      </c:pt>
                      <c:pt idx="288">
                        <c:v>44120</c:v>
                      </c:pt>
                      <c:pt idx="289">
                        <c:v>44121</c:v>
                      </c:pt>
                      <c:pt idx="290">
                        <c:v>44122</c:v>
                      </c:pt>
                      <c:pt idx="291">
                        <c:v>44123</c:v>
                      </c:pt>
                      <c:pt idx="292">
                        <c:v>44124</c:v>
                      </c:pt>
                      <c:pt idx="293">
                        <c:v>44125</c:v>
                      </c:pt>
                      <c:pt idx="294">
                        <c:v>44126</c:v>
                      </c:pt>
                      <c:pt idx="295">
                        <c:v>44127</c:v>
                      </c:pt>
                      <c:pt idx="296">
                        <c:v>44128</c:v>
                      </c:pt>
                      <c:pt idx="297">
                        <c:v>44129</c:v>
                      </c:pt>
                      <c:pt idx="298">
                        <c:v>44130</c:v>
                      </c:pt>
                      <c:pt idx="299">
                        <c:v>44131</c:v>
                      </c:pt>
                      <c:pt idx="300">
                        <c:v>44132</c:v>
                      </c:pt>
                      <c:pt idx="301">
                        <c:v>44133</c:v>
                      </c:pt>
                      <c:pt idx="302">
                        <c:v>44134</c:v>
                      </c:pt>
                      <c:pt idx="303">
                        <c:v>44135</c:v>
                      </c:pt>
                    </c:numCache>
                  </c:numRef>
                </c:cat>
                <c:val>
                  <c:numRef>
                    <c:extLst xmlns:c15="http://schemas.microsoft.com/office/drawing/2012/chart">
                      <c:ext xmlns:c15="http://schemas.microsoft.com/office/drawing/2012/chart" uri="{02D57815-91ED-43cb-92C2-25804820EDAC}">
                        <c15:formulaRef>
                          <c15:sqref>FlightTrack!#REF!</c15:sqref>
                        </c15:formulaRef>
                      </c:ext>
                    </c:extLst>
                    <c:numCache>
                      <c:formatCode>General</c:formatCode>
                      <c:ptCount val="1"/>
                      <c:pt idx="0">
                        <c:v>1</c:v>
                      </c:pt>
                    </c:numCache>
                  </c:numRef>
                </c:val>
                <c:smooth val="0"/>
                <c:extLst xmlns:c15="http://schemas.microsoft.com/office/drawing/2012/chart">
                  <c:ext xmlns:c16="http://schemas.microsoft.com/office/drawing/2014/chart" uri="{C3380CC4-5D6E-409C-BE32-E72D297353CC}">
                    <c16:uniqueId val="{00000008-7B4D-461F-89A0-59B01E9201BC}"/>
                  </c:ext>
                </c:extLst>
              </c15:ser>
            </c15:filteredLineSeries>
          </c:ext>
        </c:extLst>
      </c:lineChart>
      <c:dateAx>
        <c:axId val="765120848"/>
        <c:scaling>
          <c:orientation val="minMax"/>
          <c:max val="44165"/>
        </c:scaling>
        <c:delete val="0"/>
        <c:axPos val="b"/>
        <c:numFmt formatCode="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crossAx val="765121504"/>
        <c:crosses val="autoZero"/>
        <c:auto val="1"/>
        <c:lblOffset val="100"/>
        <c:baseTimeUnit val="days"/>
        <c:majorUnit val="1"/>
        <c:majorTimeUnit val="months"/>
      </c:dateAx>
      <c:valAx>
        <c:axId val="7651215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crossAx val="765120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036036036036036E-2"/>
          <c:y val="3.6061026352288486E-2"/>
          <c:w val="0.86832986832986836"/>
          <c:h val="0.92787794729542306"/>
        </c:manualLayout>
      </c:layout>
      <c:barChart>
        <c:barDir val="bar"/>
        <c:grouping val="clustered"/>
        <c:varyColors val="0"/>
        <c:ser>
          <c:idx val="0"/>
          <c:order val="0"/>
          <c:spPr>
            <a:pattFill prst="ltDnDiag">
              <a:fgClr>
                <a:schemeClr val="tx1"/>
              </a:fgClr>
              <a:bgClr>
                <a:schemeClr val="bg1"/>
              </a:bgClr>
            </a:pattFill>
            <a:ln>
              <a:noFill/>
            </a:ln>
          </c:spPr>
          <c:invertIfNegative val="0"/>
          <c:dLbls>
            <c:dLbl>
              <c:idx val="0"/>
              <c:layout>
                <c:manualLayout>
                  <c:x val="0"/>
                  <c:y val="5.5482870466434416E-3"/>
                </c:manualLayout>
              </c:layout>
              <c:numFmt formatCode="#,##0;&quot;-&quot;#,##0" sourceLinked="0"/>
              <c:spPr>
                <a:noFill/>
                <a:ln>
                  <a:noFill/>
                </a:ln>
              </c:spPr>
              <c:txPr>
                <a:bodyPr wrap="none"/>
                <a:lstStyle/>
                <a:p>
                  <a:pPr>
                    <a:defRPr sz="1000" kern="1200">
                      <a:solidFill>
                        <a:schemeClr val="bg1">
                          <a:lumMod val="75000"/>
                        </a:schemeClr>
                      </a:solidFill>
                      <a:latin typeface="Calibri"/>
                      <a:ea typeface="+mn-ea"/>
                      <a:cs typeface="Calibri"/>
                    </a:defRPr>
                  </a:pPr>
                  <a:endParaRPr lang="fr-FR"/>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8D-4D56-A3F6-1A83AE803254}"/>
                </c:ext>
              </c:extLst>
            </c:dLbl>
            <c:dLbl>
              <c:idx val="2"/>
              <c:layout>
                <c:manualLayout>
                  <c:x val="0.10117810117810118"/>
                  <c:y val="0"/>
                </c:manualLayout>
              </c:layout>
              <c:numFmt formatCode="#,##0;&quot;-&quot;#,##0" sourceLinked="0"/>
              <c:spPr>
                <a:noFill/>
                <a:ln>
                  <a:noFill/>
                </a:ln>
              </c:spPr>
              <c:txPr>
                <a:bodyPr wrap="none"/>
                <a:lstStyle/>
                <a:p>
                  <a:pPr>
                    <a:defRPr sz="1000" kern="12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8D-4D56-A3F6-1A83AE803254}"/>
                </c:ext>
              </c:extLst>
            </c:dLbl>
            <c:dLbl>
              <c:idx val="3"/>
              <c:layout>
                <c:manualLayout>
                  <c:x val="7.3458073458073453E-2"/>
                  <c:y val="0"/>
                </c:manualLayout>
              </c:layout>
              <c:numFmt formatCode="#,##0;&quot;-&quot;#,##0" sourceLinked="0"/>
              <c:spPr>
                <a:noFill/>
                <a:ln>
                  <a:noFill/>
                </a:ln>
              </c:spPr>
              <c:txPr>
                <a:bodyPr wrap="none"/>
                <a:lstStyle/>
                <a:p>
                  <a:pPr>
                    <a:defRPr sz="1000" kern="12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E8D-4D56-A3F6-1A83AE803254}"/>
                </c:ext>
              </c:extLst>
            </c:dLbl>
            <c:dLbl>
              <c:idx val="5"/>
              <c:layout>
                <c:manualLayout>
                  <c:x val="7.3458073458073453E-2"/>
                  <c:y val="0"/>
                </c:manualLayout>
              </c:layout>
              <c:numFmt formatCode="#,##0;&quot;-&quot;#,##0" sourceLinked="0"/>
              <c:spPr>
                <a:noFill/>
                <a:ln>
                  <a:noFill/>
                </a:ln>
              </c:spPr>
              <c:txPr>
                <a:bodyPr wrap="none"/>
                <a:lstStyle/>
                <a:p>
                  <a:pPr>
                    <a:defRPr sz="1000" kern="12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E8D-4D56-A3F6-1A83AE8032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formatCode="#\ ##0;&quot;-&quot;#\ ##0">
                  <c:v>19</c:v>
                </c:pt>
                <c:pt idx="1">
                  <c:v>0.5</c:v>
                </c:pt>
                <c:pt idx="2" formatCode="#\ ##0;&quot;-&quot;#\ ##0">
                  <c:v>3</c:v>
                </c:pt>
                <c:pt idx="3" formatCode="#\ ##0;&quot;-&quot;#\ ##0">
                  <c:v>2</c:v>
                </c:pt>
                <c:pt idx="4">
                  <c:v>0</c:v>
                </c:pt>
                <c:pt idx="5" formatCode="#\ ##0;&quot;-&quot;#\ ##0">
                  <c:v>2</c:v>
                </c:pt>
              </c:numCache>
            </c:numRef>
          </c:val>
          <c:extLst>
            <c:ext xmlns:c16="http://schemas.microsoft.com/office/drawing/2014/chart" uri="{C3380CC4-5D6E-409C-BE32-E72D297353CC}">
              <c16:uniqueId val="{00000004-DE8D-4D56-A3F6-1A83AE803254}"/>
            </c:ext>
          </c:extLst>
        </c:ser>
        <c:ser>
          <c:idx val="1"/>
          <c:order val="1"/>
          <c:spPr>
            <a:solidFill>
              <a:srgbClr val="44546A"/>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6-DE8D-4D56-A3F6-1A83AE803254}"/>
              </c:ext>
            </c:extLst>
          </c:dPt>
          <c:dPt>
            <c:idx val="4"/>
            <c:invertIfNegative val="0"/>
            <c:bubble3D val="0"/>
            <c:spPr>
              <a:solidFill>
                <a:schemeClr val="accent2"/>
              </a:solidFill>
              <a:ln>
                <a:noFill/>
              </a:ln>
            </c:spPr>
            <c:extLst>
              <c:ext xmlns:c16="http://schemas.microsoft.com/office/drawing/2014/chart" uri="{C3380CC4-5D6E-409C-BE32-E72D297353CC}">
                <c16:uniqueId val="{00000008-DE8D-4D56-A3F6-1A83AE803254}"/>
              </c:ext>
            </c:extLst>
          </c:dPt>
          <c:dLbls>
            <c:dLbl>
              <c:idx val="0"/>
              <c:layout>
                <c:manualLayout>
                  <c:x val="0.48094248094248093"/>
                  <c:y val="0"/>
                </c:manualLayout>
              </c:layout>
              <c:numFmt formatCode="#,##0;&quot;-&quot;#,##0" sourceLinked="0"/>
              <c:spPr>
                <a:noFill/>
                <a:ln>
                  <a:noFill/>
                </a:ln>
              </c:spPr>
              <c:txPr>
                <a:bodyPr wrap="none"/>
                <a:lstStyle/>
                <a:p>
                  <a:pPr>
                    <a:defRPr sz="1000" b="1"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E8D-4D56-A3F6-1A83AE803254}"/>
                </c:ext>
              </c:extLst>
            </c:dLbl>
            <c:dLbl>
              <c:idx val="2"/>
              <c:layout>
                <c:manualLayout>
                  <c:x val="0.10117810117810118"/>
                  <c:y val="0"/>
                </c:manualLayout>
              </c:layout>
              <c:numFmt formatCode="#,##0;&quot;-&quot;#,##0" sourceLinked="0"/>
              <c:spPr>
                <a:noFill/>
                <a:ln>
                  <a:noFill/>
                </a:ln>
              </c:spPr>
              <c:txPr>
                <a:bodyPr wrap="none"/>
                <a:lstStyle/>
                <a:p>
                  <a:pPr>
                    <a:defRPr sz="1000" b="1"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E8D-4D56-A3F6-1A83AE803254}"/>
                </c:ext>
              </c:extLst>
            </c:dLbl>
            <c:dLbl>
              <c:idx val="3"/>
              <c:layout>
                <c:manualLayout>
                  <c:x val="7.3458073458073453E-2"/>
                  <c:y val="0"/>
                </c:manualLayout>
              </c:layout>
              <c:numFmt formatCode="#,##0;&quot;-&quot;#,##0" sourceLinked="0"/>
              <c:spPr>
                <a:noFill/>
                <a:ln>
                  <a:noFill/>
                </a:ln>
              </c:spPr>
              <c:txPr>
                <a:bodyPr wrap="none"/>
                <a:lstStyle/>
                <a:p>
                  <a:pPr>
                    <a:defRPr sz="1000" b="1"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E8D-4D56-A3F6-1A83AE803254}"/>
                </c:ext>
              </c:extLst>
            </c:dLbl>
            <c:dLbl>
              <c:idx val="5"/>
              <c:layout>
                <c:manualLayout>
                  <c:x val="7.3458073458073453E-2"/>
                  <c:y val="0"/>
                </c:manualLayout>
              </c:layout>
              <c:numFmt formatCode="#,##0;&quot;-&quot;#,##0" sourceLinked="0"/>
              <c:spPr>
                <a:noFill/>
                <a:ln>
                  <a:noFill/>
                </a:ln>
              </c:spPr>
              <c:txPr>
                <a:bodyPr wrap="none"/>
                <a:lstStyle/>
                <a:p>
                  <a:pPr>
                    <a:defRPr sz="1000" b="1"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E8D-4D56-A3F6-1A83AE8032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formatCode="#\ ##0;&quot;-&quot;#\ ##0">
                  <c:v>19</c:v>
                </c:pt>
                <c:pt idx="1">
                  <c:v>0.5</c:v>
                </c:pt>
                <c:pt idx="2" formatCode="#\ ##0;&quot;-&quot;#\ ##0">
                  <c:v>3</c:v>
                </c:pt>
                <c:pt idx="3" formatCode="#\ ##0;&quot;-&quot;#\ ##0">
                  <c:v>2</c:v>
                </c:pt>
                <c:pt idx="4">
                  <c:v>0</c:v>
                </c:pt>
                <c:pt idx="5" formatCode="#\ ##0;&quot;-&quot;#\ ##0">
                  <c:v>2</c:v>
                </c:pt>
              </c:numCache>
            </c:numRef>
          </c:val>
          <c:extLst>
            <c:ext xmlns:c16="http://schemas.microsoft.com/office/drawing/2014/chart" uri="{C3380CC4-5D6E-409C-BE32-E72D297353CC}">
              <c16:uniqueId val="{0000000D-DE8D-4D56-A3F6-1A83AE803254}"/>
            </c:ext>
          </c:extLst>
        </c:ser>
        <c:dLbls>
          <c:showLegendKey val="0"/>
          <c:showVal val="0"/>
          <c:showCatName val="0"/>
          <c:showSerName val="0"/>
          <c:showPercent val="0"/>
          <c:showBubbleSize val="0"/>
        </c:dLbls>
        <c:gapWidth val="80"/>
        <c:axId val="855547168"/>
        <c:axId val="1"/>
      </c:barChart>
      <c:catAx>
        <c:axId val="855547168"/>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9"/>
          <c:min val="0"/>
        </c:scaling>
        <c:delete val="1"/>
        <c:axPos val="t"/>
        <c:numFmt formatCode="#\ ##0;&quot;-&quot;#\ ##0" sourceLinked="1"/>
        <c:majorTickMark val="out"/>
        <c:minorTickMark val="none"/>
        <c:tickLblPos val="nextTo"/>
        <c:crossAx val="85554716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2</c:f>
              <c:strCache>
                <c:ptCount val="1"/>
                <c:pt idx="0">
                  <c:v>Active</c:v>
                </c:pt>
              </c:strCache>
            </c:strRef>
          </c:tx>
          <c:spPr>
            <a:solidFill>
              <a:srgbClr val="9396B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3:$A$6</c:f>
              <c:strCache>
                <c:ptCount val="4"/>
                <c:pt idx="0">
                  <c:v>Narrow-body</c:v>
                </c:pt>
                <c:pt idx="1">
                  <c:v>Wide-body</c:v>
                </c:pt>
                <c:pt idx="2">
                  <c:v>Regional Jet</c:v>
                </c:pt>
                <c:pt idx="3">
                  <c:v>Regional Turboprop</c:v>
                </c:pt>
              </c:strCache>
            </c:strRef>
          </c:cat>
          <c:val>
            <c:numRef>
              <c:f>Feuil1!$B$3:$B$6</c:f>
              <c:numCache>
                <c:formatCode>0%</c:formatCode>
                <c:ptCount val="4"/>
                <c:pt idx="0">
                  <c:v>0.72</c:v>
                </c:pt>
                <c:pt idx="1">
                  <c:v>0.62</c:v>
                </c:pt>
                <c:pt idx="2">
                  <c:v>0.63</c:v>
                </c:pt>
                <c:pt idx="3">
                  <c:v>0.56999999999999995</c:v>
                </c:pt>
              </c:numCache>
            </c:numRef>
          </c:val>
          <c:extLst>
            <c:ext xmlns:c16="http://schemas.microsoft.com/office/drawing/2014/chart" uri="{C3380CC4-5D6E-409C-BE32-E72D297353CC}">
              <c16:uniqueId val="{00000000-A33C-45D2-9003-BFBE3ADEBD49}"/>
            </c:ext>
          </c:extLst>
        </c:ser>
        <c:ser>
          <c:idx val="1"/>
          <c:order val="1"/>
          <c:tx>
            <c:strRef>
              <c:f>Feuil1!$C$2</c:f>
              <c:strCache>
                <c:ptCount val="1"/>
                <c:pt idx="0">
                  <c:v>Ground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Calibri" panose="020F0502020204030204" pitchFamily="34" charset="0"/>
                    <a:ea typeface="+mn-ea"/>
                    <a:cs typeface="Calibri" panose="020F0502020204030204" pitchFamily="34" charset="0"/>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3:$A$6</c:f>
              <c:strCache>
                <c:ptCount val="4"/>
                <c:pt idx="0">
                  <c:v>Narrow-body</c:v>
                </c:pt>
                <c:pt idx="1">
                  <c:v>Wide-body</c:v>
                </c:pt>
                <c:pt idx="2">
                  <c:v>Regional Jet</c:v>
                </c:pt>
                <c:pt idx="3">
                  <c:v>Regional Turboprop</c:v>
                </c:pt>
              </c:strCache>
            </c:strRef>
          </c:cat>
          <c:val>
            <c:numRef>
              <c:f>Feuil1!$C$3:$C$6</c:f>
              <c:numCache>
                <c:formatCode>0%</c:formatCode>
                <c:ptCount val="4"/>
                <c:pt idx="0">
                  <c:v>0.28000000000000003</c:v>
                </c:pt>
                <c:pt idx="1">
                  <c:v>0.38</c:v>
                </c:pt>
                <c:pt idx="2">
                  <c:v>0.37</c:v>
                </c:pt>
                <c:pt idx="3">
                  <c:v>0.43</c:v>
                </c:pt>
              </c:numCache>
            </c:numRef>
          </c:val>
          <c:extLst>
            <c:ext xmlns:c16="http://schemas.microsoft.com/office/drawing/2014/chart" uri="{C3380CC4-5D6E-409C-BE32-E72D297353CC}">
              <c16:uniqueId val="{00000001-A33C-45D2-9003-BFBE3ADEBD49}"/>
            </c:ext>
          </c:extLst>
        </c:ser>
        <c:dLbls>
          <c:dLblPos val="inEnd"/>
          <c:showLegendKey val="0"/>
          <c:showVal val="1"/>
          <c:showCatName val="0"/>
          <c:showSerName val="0"/>
          <c:showPercent val="0"/>
          <c:showBubbleSize val="0"/>
        </c:dLbls>
        <c:gapWidth val="219"/>
        <c:overlap val="-27"/>
        <c:axId val="1005217736"/>
        <c:axId val="1005214128"/>
      </c:barChart>
      <c:catAx>
        <c:axId val="1005217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crossAx val="1005214128"/>
        <c:crosses val="autoZero"/>
        <c:auto val="1"/>
        <c:lblAlgn val="ctr"/>
        <c:lblOffset val="100"/>
        <c:noMultiLvlLbl val="0"/>
      </c:catAx>
      <c:valAx>
        <c:axId val="10052141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crossAx val="1005217736"/>
        <c:crosses val="autoZero"/>
        <c:crossBetween val="between"/>
      </c:valAx>
      <c:spPr>
        <a:noFill/>
        <a:ln>
          <a:noFill/>
        </a:ln>
        <a:effectLst/>
      </c:spPr>
    </c:plotArea>
    <c:legend>
      <c:legendPos val="t"/>
      <c:layout>
        <c:manualLayout>
          <c:xMode val="edge"/>
          <c:yMode val="edge"/>
          <c:x val="0.34110719404950995"/>
          <c:y val="6.230926985310712E-2"/>
          <c:w val="0.31778561190098015"/>
          <c:h val="9.5588753466705811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1">
          <a:solidFill>
            <a:schemeClr val="tx2"/>
          </a:solidFill>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89793195463642E-2"/>
          <c:y val="0.10366398570151922"/>
          <c:w val="0.93062041360907266"/>
          <c:h val="0.84986595174262736"/>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4E6-4F5E-BDBD-63E044EC75FC}"/>
              </c:ext>
            </c:extLst>
          </c:dPt>
          <c:dPt>
            <c:idx val="5"/>
            <c:invertIfNegative val="0"/>
            <c:bubble3D val="0"/>
            <c:spPr>
              <a:solidFill>
                <a:srgbClr val="FDC1A1"/>
              </a:solidFill>
              <a:ln>
                <a:noFill/>
              </a:ln>
            </c:spPr>
            <c:extLst>
              <c:ext xmlns:c16="http://schemas.microsoft.com/office/drawing/2014/chart" uri="{C3380CC4-5D6E-409C-BE32-E72D297353CC}">
                <c16:uniqueId val="{00000001-F4E6-4F5E-BDBD-63E044EC75FC}"/>
              </c:ext>
            </c:extLst>
          </c:dPt>
          <c:dLbls>
            <c:dLbl>
              <c:idx val="0"/>
              <c:layout>
                <c:manualLayout>
                  <c:x val="0"/>
                  <c:y val="-8.9365504915102768E-4"/>
                </c:manualLayout>
              </c:layout>
              <c:tx>
                <c:rich>
                  <a:bodyPr wrap="none"/>
                  <a:lstStyle/>
                  <a:p>
                    <a:pPr>
                      <a:defRPr sz="900" kern="1200">
                        <a:solidFill>
                          <a:schemeClr val="bg1"/>
                        </a:solidFill>
                        <a:latin typeface="Calibri"/>
                        <a:ea typeface="+mn-ea"/>
                        <a:cs typeface="Calibri"/>
                      </a:defRPr>
                    </a:pPr>
                    <a:r>
                      <a:rPr lang="en-US" dirty="0"/>
                      <a:t>11</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F4E6-4F5E-BDBD-63E044EC75FC}"/>
                </c:ext>
              </c:extLst>
            </c:dLbl>
            <c:dLbl>
              <c:idx val="5"/>
              <c:layout>
                <c:manualLayout>
                  <c:x val="0"/>
                  <c:y val="-0.47810545129579984"/>
                </c:manualLayout>
              </c:layout>
              <c:tx>
                <c:rich>
                  <a:bodyPr wrap="none"/>
                  <a:lstStyle/>
                  <a:p>
                    <a:pPr>
                      <a:defRPr sz="900" b="1" kern="1200">
                        <a:solidFill>
                          <a:schemeClr val="tx2"/>
                        </a:solidFill>
                        <a:latin typeface="Calibri"/>
                        <a:ea typeface="+mn-ea"/>
                        <a:cs typeface="Calibri"/>
                        <a:sym typeface="Calibri"/>
                      </a:defRPr>
                    </a:pPr>
                    <a:r>
                      <a:rPr lang="en-US" dirty="0"/>
                      <a:t>96</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F4E6-4F5E-BDBD-63E044EC75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5</c:v>
                </c:pt>
                <c:pt idx="1">
                  <c:v>15</c:v>
                </c:pt>
                <c:pt idx="2">
                  <c:v>91</c:v>
                </c:pt>
                <c:pt idx="3">
                  <c:v>109</c:v>
                </c:pt>
                <c:pt idx="4">
                  <c:v>131.30000000000001</c:v>
                </c:pt>
                <c:pt idx="5">
                  <c:v>131.30000000000001</c:v>
                </c:pt>
              </c:numCache>
            </c:numRef>
          </c:val>
          <c:extLst>
            <c:ext xmlns:c16="http://schemas.microsoft.com/office/drawing/2014/chart" uri="{C3380CC4-5D6E-409C-BE32-E72D297353CC}">
              <c16:uniqueId val="{00000002-F4E6-4F5E-BDBD-63E044EC75FC}"/>
            </c:ext>
          </c:extLst>
        </c:ser>
        <c:ser>
          <c:idx val="1"/>
          <c:order val="1"/>
          <c:spPr>
            <a:solidFill>
              <a:schemeClr val="accent2"/>
            </a:solidFill>
            <a:ln>
              <a:noFill/>
            </a:ln>
          </c:spPr>
          <c:invertIfNegative val="0"/>
          <c:dLbls>
            <c:dLbl>
              <c:idx val="1"/>
              <c:layout>
                <c:manualLayout>
                  <c:x val="0"/>
                  <c:y val="0"/>
                </c:manualLayout>
              </c:layout>
              <c:tx>
                <c:rich>
                  <a:bodyPr wrap="none"/>
                  <a:lstStyle/>
                  <a:p>
                    <a:pPr>
                      <a:defRPr sz="900" kern="1200">
                        <a:solidFill>
                          <a:schemeClr val="bg1"/>
                        </a:solidFill>
                        <a:latin typeface="Calibri"/>
                        <a:ea typeface="+mn-ea"/>
                        <a:cs typeface="Calibri"/>
                        <a:sym typeface="Calibri"/>
                      </a:defRPr>
                    </a:pPr>
                    <a:r>
                      <a:rPr lang="en-US" dirty="0"/>
                      <a:t>56</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F4E6-4F5E-BDBD-63E044EC75FC}"/>
                </c:ext>
              </c:extLst>
            </c:dLbl>
            <c:dLbl>
              <c:idx val="2"/>
              <c:layout>
                <c:manualLayout>
                  <c:x val="0"/>
                  <c:y val="0"/>
                </c:manualLayout>
              </c:layout>
              <c:tx>
                <c:rich>
                  <a:bodyPr wrap="none"/>
                  <a:lstStyle/>
                  <a:p>
                    <a:pPr>
                      <a:defRPr sz="900" kern="1200">
                        <a:solidFill>
                          <a:schemeClr val="bg1"/>
                        </a:solidFill>
                        <a:latin typeface="Calibri"/>
                        <a:ea typeface="+mn-ea"/>
                        <a:cs typeface="Calibri"/>
                        <a:sym typeface="Calibri"/>
                      </a:defRPr>
                    </a:pPr>
                    <a:r>
                      <a:rPr lang="en-US" dirty="0"/>
                      <a:t>15</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F4E6-4F5E-BDBD-63E044EC75FC}"/>
                </c:ext>
              </c:extLst>
            </c:dLbl>
            <c:dLbl>
              <c:idx val="3"/>
              <c:layout>
                <c:manualLayout>
                  <c:x val="0"/>
                  <c:y val="0"/>
                </c:manualLayout>
              </c:layout>
              <c:tx>
                <c:rich>
                  <a:bodyPr wrap="none"/>
                  <a:lstStyle/>
                  <a:p>
                    <a:pPr>
                      <a:defRPr sz="900" kern="1200">
                        <a:solidFill>
                          <a:schemeClr val="bg1"/>
                        </a:solidFill>
                        <a:latin typeface="Calibri"/>
                        <a:ea typeface="+mn-ea"/>
                        <a:cs typeface="Calibri"/>
                        <a:sym typeface="Calibri"/>
                      </a:defRPr>
                    </a:pPr>
                    <a:r>
                      <a:rPr lang="en-US" dirty="0"/>
                      <a:t>14</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F4E6-4F5E-BDBD-63E044EC75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76</c:v>
                </c:pt>
                <c:pt idx="2">
                  <c:v>18</c:v>
                </c:pt>
                <c:pt idx="3">
                  <c:v>22.300000000000011</c:v>
                </c:pt>
                <c:pt idx="4">
                  <c:v>0</c:v>
                </c:pt>
              </c:numCache>
            </c:numRef>
          </c:val>
          <c:extLst>
            <c:ext xmlns:c16="http://schemas.microsoft.com/office/drawing/2014/chart" uri="{C3380CC4-5D6E-409C-BE32-E72D297353CC}">
              <c16:uniqueId val="{00000006-F4E6-4F5E-BDBD-63E044EC75FC}"/>
            </c:ext>
          </c:extLst>
        </c:ser>
        <c:dLbls>
          <c:showLegendKey val="0"/>
          <c:showVal val="0"/>
          <c:showCatName val="0"/>
          <c:showSerName val="0"/>
          <c:showPercent val="0"/>
          <c:showBubbleSize val="0"/>
        </c:dLbls>
        <c:gapWidth val="80"/>
        <c:overlap val="100"/>
        <c:axId val="854755888"/>
        <c:axId val="1"/>
      </c:barChart>
      <c:catAx>
        <c:axId val="85475588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31.30000000000001"/>
          <c:min val="0"/>
        </c:scaling>
        <c:delete val="1"/>
        <c:axPos val="l"/>
        <c:numFmt formatCode="General" sourceLinked="1"/>
        <c:majorTickMark val="out"/>
        <c:minorTickMark val="none"/>
        <c:tickLblPos val="nextTo"/>
        <c:crossAx val="85475588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76338514680483"/>
          <c:y val="5.0621669626998225E-2"/>
          <c:w val="0.86917098445595853"/>
          <c:h val="0.89875666074600358"/>
        </c:manualLayout>
      </c:layout>
      <c:lineChart>
        <c:grouping val="standard"/>
        <c:varyColors val="0"/>
        <c:ser>
          <c:idx val="0"/>
          <c:order val="0"/>
          <c:spPr>
            <a:ln w="19050" cap="flat" algn="ctr">
              <a:solidFill>
                <a:schemeClr val="tx2"/>
              </a:solidFill>
              <a:prstDash val="solid"/>
            </a:ln>
          </c:spPr>
          <c:marker>
            <c:symbol val="none"/>
          </c:marker>
          <c:dLbls>
            <c:spPr>
              <a:noFill/>
              <a:ln>
                <a:noFill/>
              </a:ln>
              <a:effectLst/>
            </c:spPr>
            <c:txPr>
              <a:bodyPr wrap="square" lIns="38100" tIns="19050" rIns="38100" bIns="19050" anchor="ctr">
                <a:spAutoFit/>
              </a:bodyPr>
              <a:lstStyle/>
              <a:p>
                <a:pPr>
                  <a:defRPr sz="900">
                    <a:latin typeface="Calibri" panose="020F0502020204030204" pitchFamily="34" charset="0"/>
                    <a:cs typeface="Calibri" panose="020F0502020204030204" pitchFamily="34" charset="0"/>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M$1</c:f>
              <c:numCache>
                <c:formatCode>General</c:formatCode>
                <c:ptCount val="13"/>
                <c:pt idx="0">
                  <c:v>89</c:v>
                </c:pt>
                <c:pt idx="1">
                  <c:v>21</c:v>
                </c:pt>
                <c:pt idx="2">
                  <c:v>32</c:v>
                </c:pt>
                <c:pt idx="3">
                  <c:v>72</c:v>
                </c:pt>
                <c:pt idx="4">
                  <c:v>45</c:v>
                </c:pt>
                <c:pt idx="5">
                  <c:v>50</c:v>
                </c:pt>
                <c:pt idx="6">
                  <c:v>77</c:v>
                </c:pt>
                <c:pt idx="7">
                  <c:v>47</c:v>
                </c:pt>
                <c:pt idx="8">
                  <c:v>40</c:v>
                </c:pt>
                <c:pt idx="9">
                  <c:v>40</c:v>
                </c:pt>
                <c:pt idx="10">
                  <c:v>36</c:v>
                </c:pt>
                <c:pt idx="11">
                  <c:v>58</c:v>
                </c:pt>
                <c:pt idx="12">
                  <c:v>93</c:v>
                </c:pt>
              </c:numCache>
            </c:numRef>
          </c:val>
          <c:smooth val="0"/>
          <c:extLst>
            <c:ext xmlns:c16="http://schemas.microsoft.com/office/drawing/2014/chart" uri="{C3380CC4-5D6E-409C-BE32-E72D297353CC}">
              <c16:uniqueId val="{00000007-F01C-49AF-9857-15873147E4DB}"/>
            </c:ext>
          </c:extLst>
        </c:ser>
        <c:ser>
          <c:idx val="1"/>
          <c:order val="1"/>
          <c:spPr>
            <a:ln w="3175" cap="flat" algn="ctr">
              <a:solidFill>
                <a:schemeClr val="accent2"/>
              </a:solidFill>
              <a:prstDash val="lgDash"/>
            </a:ln>
          </c:spPr>
          <c:marker>
            <c:symbol val="none"/>
          </c:marker>
          <c:val>
            <c:numRef>
              <c:f>Sheet1!$A$2:$M$2</c:f>
              <c:numCache>
                <c:formatCode>General</c:formatCode>
                <c:ptCount val="13"/>
                <c:pt idx="0">
                  <c:v>67</c:v>
                </c:pt>
                <c:pt idx="1">
                  <c:v>16</c:v>
                </c:pt>
                <c:pt idx="2">
                  <c:v>29</c:v>
                </c:pt>
                <c:pt idx="3">
                  <c:v>60</c:v>
                </c:pt>
                <c:pt idx="4">
                  <c:v>34</c:v>
                </c:pt>
                <c:pt idx="5">
                  <c:v>41</c:v>
                </c:pt>
                <c:pt idx="6">
                  <c:v>57</c:v>
                </c:pt>
                <c:pt idx="7">
                  <c:v>41</c:v>
                </c:pt>
                <c:pt idx="8">
                  <c:v>33</c:v>
                </c:pt>
                <c:pt idx="9">
                  <c:v>30</c:v>
                </c:pt>
                <c:pt idx="10">
                  <c:v>32</c:v>
                </c:pt>
                <c:pt idx="11">
                  <c:v>44</c:v>
                </c:pt>
                <c:pt idx="12">
                  <c:v>66</c:v>
                </c:pt>
              </c:numCache>
            </c:numRef>
          </c:val>
          <c:smooth val="0"/>
          <c:extLst>
            <c:ext xmlns:c16="http://schemas.microsoft.com/office/drawing/2014/chart" uri="{C3380CC4-5D6E-409C-BE32-E72D297353CC}">
              <c16:uniqueId val="{00000008-F01C-49AF-9857-15873147E4DB}"/>
            </c:ext>
          </c:extLst>
        </c:ser>
        <c:ser>
          <c:idx val="2"/>
          <c:order val="2"/>
          <c:spPr>
            <a:ln w="19050" cap="flat" algn="ctr">
              <a:solidFill>
                <a:schemeClr val="accent1"/>
              </a:solidFill>
              <a:prstDash val="lgDash"/>
            </a:ln>
          </c:spPr>
          <c:marker>
            <c:symbol val="none"/>
          </c:marker>
          <c:val>
            <c:numRef>
              <c:f>Sheet1!$A$3:$M$3</c:f>
              <c:numCache>
                <c:formatCode>General</c:formatCode>
                <c:ptCount val="13"/>
                <c:pt idx="0">
                  <c:v>5</c:v>
                </c:pt>
                <c:pt idx="1">
                  <c:v>1</c:v>
                </c:pt>
                <c:pt idx="2">
                  <c:v>0</c:v>
                </c:pt>
                <c:pt idx="3">
                  <c:v>0</c:v>
                </c:pt>
                <c:pt idx="4">
                  <c:v>2</c:v>
                </c:pt>
                <c:pt idx="5">
                  <c:v>1</c:v>
                </c:pt>
                <c:pt idx="6">
                  <c:v>3</c:v>
                </c:pt>
                <c:pt idx="7">
                  <c:v>0</c:v>
                </c:pt>
                <c:pt idx="8">
                  <c:v>0</c:v>
                </c:pt>
                <c:pt idx="9">
                  <c:v>4</c:v>
                </c:pt>
                <c:pt idx="10">
                  <c:v>0</c:v>
                </c:pt>
                <c:pt idx="11">
                  <c:v>5</c:v>
                </c:pt>
                <c:pt idx="12">
                  <c:v>2</c:v>
                </c:pt>
              </c:numCache>
            </c:numRef>
          </c:val>
          <c:smooth val="0"/>
          <c:extLst>
            <c:ext xmlns:c16="http://schemas.microsoft.com/office/drawing/2014/chart" uri="{C3380CC4-5D6E-409C-BE32-E72D297353CC}">
              <c16:uniqueId val="{00000009-F01C-49AF-9857-15873147E4DB}"/>
            </c:ext>
          </c:extLst>
        </c:ser>
        <c:ser>
          <c:idx val="3"/>
          <c:order val="3"/>
          <c:spPr>
            <a:ln w="3175" cap="flat" algn="ctr">
              <a:solidFill>
                <a:schemeClr val="accent3"/>
              </a:solidFill>
              <a:prstDash val="lgDash"/>
            </a:ln>
          </c:spPr>
          <c:marker>
            <c:symbol val="none"/>
          </c:marker>
          <c:val>
            <c:numRef>
              <c:f>Sheet1!$A$4:$M$4</c:f>
              <c:numCache>
                <c:formatCode>General</c:formatCode>
                <c:ptCount val="13"/>
                <c:pt idx="0">
                  <c:v>8</c:v>
                </c:pt>
                <c:pt idx="1">
                  <c:v>1</c:v>
                </c:pt>
                <c:pt idx="2">
                  <c:v>1</c:v>
                </c:pt>
                <c:pt idx="3">
                  <c:v>8</c:v>
                </c:pt>
                <c:pt idx="4">
                  <c:v>6</c:v>
                </c:pt>
                <c:pt idx="5">
                  <c:v>3</c:v>
                </c:pt>
                <c:pt idx="6">
                  <c:v>12</c:v>
                </c:pt>
                <c:pt idx="7">
                  <c:v>2</c:v>
                </c:pt>
                <c:pt idx="8">
                  <c:v>2</c:v>
                </c:pt>
                <c:pt idx="9">
                  <c:v>2</c:v>
                </c:pt>
                <c:pt idx="10">
                  <c:v>1</c:v>
                </c:pt>
                <c:pt idx="11">
                  <c:v>2</c:v>
                </c:pt>
                <c:pt idx="12">
                  <c:v>16</c:v>
                </c:pt>
              </c:numCache>
            </c:numRef>
          </c:val>
          <c:smooth val="0"/>
          <c:extLst>
            <c:ext xmlns:c16="http://schemas.microsoft.com/office/drawing/2014/chart" uri="{C3380CC4-5D6E-409C-BE32-E72D297353CC}">
              <c16:uniqueId val="{0000000A-F01C-49AF-9857-15873147E4DB}"/>
            </c:ext>
          </c:extLst>
        </c:ser>
        <c:dLbls>
          <c:showLegendKey val="0"/>
          <c:showVal val="0"/>
          <c:showCatName val="0"/>
          <c:showSerName val="0"/>
          <c:showPercent val="0"/>
          <c:showBubbleSize val="0"/>
        </c:dLbls>
        <c:smooth val="0"/>
        <c:axId val="1095864568"/>
        <c:axId val="1"/>
      </c:lineChart>
      <c:catAx>
        <c:axId val="109586456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sz="900" kern="1200">
                <a:solidFill>
                  <a:schemeClr val="tx2"/>
                </a:solidFill>
                <a:latin typeface="Calibri"/>
                <a:ea typeface="+mn-ea"/>
                <a:cs typeface="Calibri"/>
                <a:sym typeface="Calibri"/>
              </a:defRPr>
            </a:pPr>
            <a:endParaRPr lang="fr-FR"/>
          </a:p>
        </c:txPr>
        <c:crossAx val="1095864568"/>
        <c:crosses val="min"/>
        <c:crossBetween val="midCat"/>
        <c:majorUnit val="2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104543449492715E-2"/>
          <c:y val="0.1045958795562599"/>
          <c:w val="0.8879576532862814"/>
          <c:h val="0.85023771790808245"/>
        </c:manualLayout>
      </c:layout>
      <c:lineChart>
        <c:grouping val="standard"/>
        <c:varyColors val="0"/>
        <c:ser>
          <c:idx val="0"/>
          <c:order val="0"/>
          <c:spPr>
            <a:ln w="19050" cap="flat" algn="ctr">
              <a:solidFill>
                <a:schemeClr val="tx2"/>
              </a:solidFill>
              <a:prstDash val="solid"/>
            </a:ln>
          </c:spPr>
          <c:marker>
            <c:symbol val="none"/>
          </c:marker>
          <c:dLbls>
            <c:spPr>
              <a:noFill/>
              <a:ln>
                <a:noFill/>
              </a:ln>
              <a:effectLst/>
            </c:spPr>
            <c:txPr>
              <a:bodyPr wrap="square" lIns="38100" tIns="19050" rIns="38100" bIns="19050" anchor="ctr">
                <a:spAutoFit/>
              </a:bodyPr>
              <a:lstStyle/>
              <a:p>
                <a:pPr>
                  <a:defRPr sz="900">
                    <a:latin typeface="Calibri" panose="020F0502020204030204" pitchFamily="34" charset="0"/>
                    <a:cs typeface="Calibri" panose="020F0502020204030204" pitchFamily="34" charset="0"/>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M$1</c:f>
              <c:numCache>
                <c:formatCode>General</c:formatCode>
                <c:ptCount val="13"/>
                <c:pt idx="0">
                  <c:v>39</c:v>
                </c:pt>
                <c:pt idx="1">
                  <c:v>26</c:v>
                </c:pt>
                <c:pt idx="2">
                  <c:v>22</c:v>
                </c:pt>
                <c:pt idx="3">
                  <c:v>29</c:v>
                </c:pt>
                <c:pt idx="4">
                  <c:v>17</c:v>
                </c:pt>
                <c:pt idx="5">
                  <c:v>17</c:v>
                </c:pt>
                <c:pt idx="6">
                  <c:v>45</c:v>
                </c:pt>
                <c:pt idx="7">
                  <c:v>28</c:v>
                </c:pt>
                <c:pt idx="8">
                  <c:v>22</c:v>
                </c:pt>
                <c:pt idx="9">
                  <c:v>35</c:v>
                </c:pt>
                <c:pt idx="10">
                  <c:v>27</c:v>
                </c:pt>
                <c:pt idx="11">
                  <c:v>34</c:v>
                </c:pt>
                <c:pt idx="12">
                  <c:v>38</c:v>
                </c:pt>
              </c:numCache>
            </c:numRef>
          </c:val>
          <c:smooth val="0"/>
          <c:extLst>
            <c:ext xmlns:c16="http://schemas.microsoft.com/office/drawing/2014/chart" uri="{C3380CC4-5D6E-409C-BE32-E72D297353CC}">
              <c16:uniqueId val="{00000007-4847-4F7B-B930-E660250A4D9C}"/>
            </c:ext>
          </c:extLst>
        </c:ser>
        <c:ser>
          <c:idx val="1"/>
          <c:order val="1"/>
          <c:spPr>
            <a:ln w="3175" cap="flat" algn="ctr">
              <a:solidFill>
                <a:schemeClr val="accent2"/>
              </a:solidFill>
              <a:prstDash val="lgDash"/>
            </a:ln>
          </c:spPr>
          <c:marker>
            <c:symbol val="none"/>
          </c:marker>
          <c:val>
            <c:numRef>
              <c:f>Sheet1!$A$2:$M$2</c:f>
              <c:numCache>
                <c:formatCode>General</c:formatCode>
                <c:ptCount val="13"/>
                <c:pt idx="0">
                  <c:v>28</c:v>
                </c:pt>
                <c:pt idx="1">
                  <c:v>22</c:v>
                </c:pt>
                <c:pt idx="2">
                  <c:v>19</c:v>
                </c:pt>
                <c:pt idx="3">
                  <c:v>22</c:v>
                </c:pt>
                <c:pt idx="4">
                  <c:v>4</c:v>
                </c:pt>
                <c:pt idx="5">
                  <c:v>11</c:v>
                </c:pt>
                <c:pt idx="6">
                  <c:v>35</c:v>
                </c:pt>
                <c:pt idx="7">
                  <c:v>23</c:v>
                </c:pt>
                <c:pt idx="8">
                  <c:v>16</c:v>
                </c:pt>
                <c:pt idx="9">
                  <c:v>27</c:v>
                </c:pt>
                <c:pt idx="10">
                  <c:v>22</c:v>
                </c:pt>
                <c:pt idx="11">
                  <c:v>29</c:v>
                </c:pt>
                <c:pt idx="12">
                  <c:v>33</c:v>
                </c:pt>
              </c:numCache>
            </c:numRef>
          </c:val>
          <c:smooth val="0"/>
          <c:extLst>
            <c:ext xmlns:c16="http://schemas.microsoft.com/office/drawing/2014/chart" uri="{C3380CC4-5D6E-409C-BE32-E72D297353CC}">
              <c16:uniqueId val="{00000008-4847-4F7B-B930-E660250A4D9C}"/>
            </c:ext>
          </c:extLst>
        </c:ser>
        <c:ser>
          <c:idx val="2"/>
          <c:order val="2"/>
          <c:spPr>
            <a:ln w="19050" cap="flat" algn="ctr">
              <a:solidFill>
                <a:schemeClr val="accent1"/>
              </a:solidFill>
              <a:prstDash val="lgDash"/>
            </a:ln>
          </c:spPr>
          <c:marker>
            <c:symbol val="none"/>
          </c:marker>
          <c:val>
            <c:numRef>
              <c:f>Sheet1!$A$3:$M$3</c:f>
              <c:numCache>
                <c:formatCode>General</c:formatCode>
                <c:ptCount val="13"/>
                <c:pt idx="0">
                  <c:v>4</c:v>
                </c:pt>
                <c:pt idx="1">
                  <c:v>3</c:v>
                </c:pt>
                <c:pt idx="2">
                  <c:v>1</c:v>
                </c:pt>
                <c:pt idx="3">
                  <c:v>2</c:v>
                </c:pt>
                <c:pt idx="4">
                  <c:v>2</c:v>
                </c:pt>
                <c:pt idx="5">
                  <c:v>1</c:v>
                </c:pt>
                <c:pt idx="6">
                  <c:v>5</c:v>
                </c:pt>
                <c:pt idx="7">
                  <c:v>0</c:v>
                </c:pt>
                <c:pt idx="8">
                  <c:v>2</c:v>
                </c:pt>
                <c:pt idx="9">
                  <c:v>4</c:v>
                </c:pt>
                <c:pt idx="10">
                  <c:v>2</c:v>
                </c:pt>
                <c:pt idx="11">
                  <c:v>0</c:v>
                </c:pt>
                <c:pt idx="12">
                  <c:v>2</c:v>
                </c:pt>
              </c:numCache>
            </c:numRef>
          </c:val>
          <c:smooth val="0"/>
          <c:extLst>
            <c:ext xmlns:c16="http://schemas.microsoft.com/office/drawing/2014/chart" uri="{C3380CC4-5D6E-409C-BE32-E72D297353CC}">
              <c16:uniqueId val="{00000009-4847-4F7B-B930-E660250A4D9C}"/>
            </c:ext>
          </c:extLst>
        </c:ser>
        <c:ser>
          <c:idx val="3"/>
          <c:order val="3"/>
          <c:spPr>
            <a:ln w="3175" cap="flat" algn="ctr">
              <a:solidFill>
                <a:schemeClr val="accent3"/>
              </a:solidFill>
              <a:prstDash val="lgDash"/>
            </a:ln>
          </c:spPr>
          <c:marker>
            <c:symbol val="none"/>
          </c:marker>
          <c:val>
            <c:numRef>
              <c:f>Sheet1!$A$4:$M$4</c:f>
              <c:numCache>
                <c:formatCode>General</c:formatCode>
                <c:ptCount val="13"/>
                <c:pt idx="0">
                  <c:v>0</c:v>
                </c:pt>
                <c:pt idx="1">
                  <c:v>0</c:v>
                </c:pt>
                <c:pt idx="2">
                  <c:v>0</c:v>
                </c:pt>
                <c:pt idx="3">
                  <c:v>2</c:v>
                </c:pt>
                <c:pt idx="4">
                  <c:v>9</c:v>
                </c:pt>
                <c:pt idx="5">
                  <c:v>2</c:v>
                </c:pt>
                <c:pt idx="6">
                  <c:v>1</c:v>
                </c:pt>
                <c:pt idx="7">
                  <c:v>0</c:v>
                </c:pt>
                <c:pt idx="8">
                  <c:v>0</c:v>
                </c:pt>
                <c:pt idx="9">
                  <c:v>0</c:v>
                </c:pt>
                <c:pt idx="10">
                  <c:v>0</c:v>
                </c:pt>
                <c:pt idx="11">
                  <c:v>0</c:v>
                </c:pt>
                <c:pt idx="12">
                  <c:v>0</c:v>
                </c:pt>
              </c:numCache>
            </c:numRef>
          </c:val>
          <c:smooth val="0"/>
          <c:extLst>
            <c:ext xmlns:c16="http://schemas.microsoft.com/office/drawing/2014/chart" uri="{C3380CC4-5D6E-409C-BE32-E72D297353CC}">
              <c16:uniqueId val="{0000000A-4847-4F7B-B930-E660250A4D9C}"/>
            </c:ext>
          </c:extLst>
        </c:ser>
        <c:dLbls>
          <c:showLegendKey val="0"/>
          <c:showVal val="0"/>
          <c:showCatName val="0"/>
          <c:showSerName val="0"/>
          <c:showPercent val="0"/>
          <c:showBubbleSize val="0"/>
        </c:dLbls>
        <c:smooth val="0"/>
        <c:axId val="2123800056"/>
        <c:axId val="1"/>
      </c:lineChart>
      <c:catAx>
        <c:axId val="2123800056"/>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sz="900" kern="1200">
                <a:solidFill>
                  <a:schemeClr val="tx2"/>
                </a:solidFill>
                <a:latin typeface="Calibri"/>
                <a:ea typeface="Calibri"/>
                <a:cs typeface="Calibri"/>
                <a:sym typeface="Calibri"/>
              </a:defRPr>
            </a:pPr>
            <a:endParaRPr lang="fr-FR"/>
          </a:p>
        </c:txPr>
        <c:crossAx val="2123800056"/>
        <c:crosses val="min"/>
        <c:crossBetween val="midCat"/>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40549341994622"/>
          <c:y val="0"/>
          <c:w val="0.84459450658005375"/>
          <c:h val="0.92143264038677375"/>
        </c:manualLayout>
      </c:layout>
      <c:barChart>
        <c:barDir val="bar"/>
        <c:grouping val="clustered"/>
        <c:varyColors val="0"/>
        <c:ser>
          <c:idx val="0"/>
          <c:order val="0"/>
          <c:tx>
            <c:strRef>
              <c:f>GRAPHIQUES!$B$36</c:f>
              <c:strCache>
                <c:ptCount val="1"/>
                <c:pt idx="0">
                  <c:v>Commandes Brutes YTD</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IQUES!$A$37:$A$43</c:f>
              <c:strCache>
                <c:ptCount val="7"/>
                <c:pt idx="0">
                  <c:v>A220</c:v>
                </c:pt>
                <c:pt idx="1">
                  <c:v>A319 NEO</c:v>
                </c:pt>
                <c:pt idx="2">
                  <c:v>A320 NEO</c:v>
                </c:pt>
                <c:pt idx="3">
                  <c:v>A321 NEO</c:v>
                </c:pt>
                <c:pt idx="4">
                  <c:v>A330 NEO</c:v>
                </c:pt>
                <c:pt idx="5">
                  <c:v>A350</c:v>
                </c:pt>
                <c:pt idx="6">
                  <c:v>TOTAL</c:v>
                </c:pt>
              </c:strCache>
            </c:strRef>
          </c:cat>
          <c:val>
            <c:numRef>
              <c:f>GRAPHIQUES!$B$37:$B$43</c:f>
              <c:numCache>
                <c:formatCode>General</c:formatCode>
                <c:ptCount val="7"/>
                <c:pt idx="0">
                  <c:v>64</c:v>
                </c:pt>
                <c:pt idx="1">
                  <c:v>2</c:v>
                </c:pt>
                <c:pt idx="2">
                  <c:v>78</c:v>
                </c:pt>
                <c:pt idx="3">
                  <c:v>581</c:v>
                </c:pt>
                <c:pt idx="4">
                  <c:v>22</c:v>
                </c:pt>
                <c:pt idx="5">
                  <c:v>16</c:v>
                </c:pt>
                <c:pt idx="6">
                  <c:v>771</c:v>
                </c:pt>
              </c:numCache>
            </c:numRef>
          </c:val>
          <c:extLst>
            <c:ext xmlns:c16="http://schemas.microsoft.com/office/drawing/2014/chart" uri="{C3380CC4-5D6E-409C-BE32-E72D297353CC}">
              <c16:uniqueId val="{00000000-D491-4BB6-9CE5-070D5546719F}"/>
            </c:ext>
          </c:extLst>
        </c:ser>
        <c:ser>
          <c:idx val="1"/>
          <c:order val="1"/>
          <c:tx>
            <c:strRef>
              <c:f>GRAPHIQUES!$C$36</c:f>
              <c:strCache>
                <c:ptCount val="1"/>
                <c:pt idx="0">
                  <c:v>Annulation YTD</c:v>
                </c:pt>
              </c:strCache>
            </c:strRef>
          </c:tx>
          <c:spPr>
            <a:solidFill>
              <a:srgbClr val="9396B4"/>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3-D491-4BB6-9CE5-070D5546719F}"/>
                </c:ext>
              </c:extLst>
            </c:dLbl>
            <c:dLbl>
              <c:idx val="4"/>
              <c:delete val="1"/>
              <c:extLst>
                <c:ext xmlns:c15="http://schemas.microsoft.com/office/drawing/2012/chart" uri="{CE6537A1-D6FC-4f65-9D91-7224C49458BB}"/>
                <c:ext xmlns:c16="http://schemas.microsoft.com/office/drawing/2014/chart" uri="{C3380CC4-5D6E-409C-BE32-E72D297353CC}">
                  <c16:uniqueId val="{00000004-D491-4BB6-9CE5-070D5546719F}"/>
                </c:ext>
              </c:extLst>
            </c:dLbl>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IQUES!$A$37:$A$43</c:f>
              <c:strCache>
                <c:ptCount val="7"/>
                <c:pt idx="0">
                  <c:v>A220</c:v>
                </c:pt>
                <c:pt idx="1">
                  <c:v>A319 NEO</c:v>
                </c:pt>
                <c:pt idx="2">
                  <c:v>A320 NEO</c:v>
                </c:pt>
                <c:pt idx="3">
                  <c:v>A321 NEO</c:v>
                </c:pt>
                <c:pt idx="4">
                  <c:v>A330 NEO</c:v>
                </c:pt>
                <c:pt idx="5">
                  <c:v>A350</c:v>
                </c:pt>
                <c:pt idx="6">
                  <c:v>TOTAL</c:v>
                </c:pt>
              </c:strCache>
            </c:strRef>
          </c:cat>
          <c:val>
            <c:numRef>
              <c:f>GRAPHIQUES!$C$37:$C$43</c:f>
              <c:numCache>
                <c:formatCode>General</c:formatCode>
                <c:ptCount val="7"/>
                <c:pt idx="0">
                  <c:v>-26</c:v>
                </c:pt>
                <c:pt idx="1">
                  <c:v>0</c:v>
                </c:pt>
                <c:pt idx="2">
                  <c:v>-162</c:v>
                </c:pt>
                <c:pt idx="3">
                  <c:v>-55</c:v>
                </c:pt>
                <c:pt idx="4">
                  <c:v>0</c:v>
                </c:pt>
                <c:pt idx="5">
                  <c:v>-14</c:v>
                </c:pt>
                <c:pt idx="6">
                  <c:v>-264</c:v>
                </c:pt>
              </c:numCache>
            </c:numRef>
          </c:val>
          <c:extLst>
            <c:ext xmlns:c16="http://schemas.microsoft.com/office/drawing/2014/chart" uri="{C3380CC4-5D6E-409C-BE32-E72D297353CC}">
              <c16:uniqueId val="{00000001-D491-4BB6-9CE5-070D5546719F}"/>
            </c:ext>
          </c:extLst>
        </c:ser>
        <c:dLbls>
          <c:dLblPos val="outEnd"/>
          <c:showLegendKey val="0"/>
          <c:showVal val="1"/>
          <c:showCatName val="0"/>
          <c:showSerName val="0"/>
          <c:showPercent val="0"/>
          <c:showBubbleSize val="0"/>
        </c:dLbls>
        <c:gapWidth val="100"/>
        <c:overlap val="100"/>
        <c:axId val="839199720"/>
        <c:axId val="769388208"/>
      </c:barChart>
      <c:catAx>
        <c:axId val="839199720"/>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crossAx val="769388208"/>
        <c:crosses val="autoZero"/>
        <c:auto val="1"/>
        <c:lblAlgn val="ctr"/>
        <c:lblOffset val="100"/>
        <c:noMultiLvlLbl val="0"/>
      </c:catAx>
      <c:valAx>
        <c:axId val="769388208"/>
        <c:scaling>
          <c:orientation val="minMax"/>
        </c:scaling>
        <c:delete val="1"/>
        <c:axPos val="t"/>
        <c:majorGridlines>
          <c:spPr>
            <a:ln w="9525" cap="flat" cmpd="sng" algn="ctr">
              <a:noFill/>
              <a:round/>
            </a:ln>
            <a:effectLst/>
          </c:spPr>
        </c:majorGridlines>
        <c:numFmt formatCode="General" sourceLinked="1"/>
        <c:majorTickMark val="none"/>
        <c:minorTickMark val="none"/>
        <c:tickLblPos val="nextTo"/>
        <c:crossAx val="8391997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1">
          <a:solidFill>
            <a:schemeClr val="tx2"/>
          </a:solidFill>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60549132947978"/>
          <c:y val="2.1000697350069736E-2"/>
          <c:w val="0.70531711624919713"/>
          <c:h val="0.91881682938168296"/>
        </c:manualLayout>
      </c:layout>
      <c:barChart>
        <c:barDir val="bar"/>
        <c:grouping val="clustered"/>
        <c:varyColors val="0"/>
        <c:ser>
          <c:idx val="0"/>
          <c:order val="0"/>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IQUES!$A$46:$A$53</c:f>
              <c:strCache>
                <c:ptCount val="8"/>
                <c:pt idx="0">
                  <c:v>737 NG</c:v>
                </c:pt>
                <c:pt idx="1">
                  <c:v>737MAX</c:v>
                </c:pt>
                <c:pt idx="2">
                  <c:v>747</c:v>
                </c:pt>
                <c:pt idx="3">
                  <c:v>767</c:v>
                </c:pt>
                <c:pt idx="4">
                  <c:v>777</c:v>
                </c:pt>
                <c:pt idx="5">
                  <c:v>777X</c:v>
                </c:pt>
                <c:pt idx="6">
                  <c:v>787</c:v>
                </c:pt>
                <c:pt idx="7">
                  <c:v>TOTAL</c:v>
                </c:pt>
              </c:strCache>
            </c:strRef>
          </c:cat>
          <c:val>
            <c:numRef>
              <c:f>GRAPHIQUES!$B$46:$B$53</c:f>
              <c:numCache>
                <c:formatCode>General</c:formatCode>
                <c:ptCount val="8"/>
                <c:pt idx="0">
                  <c:v>5</c:v>
                </c:pt>
                <c:pt idx="1">
                  <c:v>760</c:v>
                </c:pt>
                <c:pt idx="2">
                  <c:v>5</c:v>
                </c:pt>
                <c:pt idx="3">
                  <c:v>65</c:v>
                </c:pt>
                <c:pt idx="4">
                  <c:v>31</c:v>
                </c:pt>
                <c:pt idx="5">
                  <c:v>22</c:v>
                </c:pt>
                <c:pt idx="6">
                  <c:v>21</c:v>
                </c:pt>
                <c:pt idx="7">
                  <c:v>909</c:v>
                </c:pt>
              </c:numCache>
            </c:numRef>
          </c:val>
          <c:extLst>
            <c:ext xmlns:c16="http://schemas.microsoft.com/office/drawing/2014/chart" uri="{C3380CC4-5D6E-409C-BE32-E72D297353CC}">
              <c16:uniqueId val="{00000000-842B-4E65-924B-A99FE8BF3F0C}"/>
            </c:ext>
          </c:extLst>
        </c:ser>
        <c:ser>
          <c:idx val="1"/>
          <c:order val="1"/>
          <c:spPr>
            <a:solidFill>
              <a:srgbClr val="9396B4"/>
            </a:solidFill>
            <a:ln>
              <a:noFill/>
            </a:ln>
            <a:effectLst/>
          </c:spPr>
          <c:invertIfNegative val="0"/>
          <c:dLbls>
            <c:dLbl>
              <c:idx val="1"/>
              <c:layout>
                <c:manualLayout>
                  <c:x val="-0.12235067437379581"/>
                  <c:y val="1.6912965165465892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2B-4E65-924B-A99FE8BF3F0C}"/>
                </c:ext>
              </c:extLst>
            </c:dLbl>
            <c:dLbl>
              <c:idx val="3"/>
              <c:delete val="1"/>
              <c:extLst>
                <c:ext xmlns:c15="http://schemas.microsoft.com/office/drawing/2012/chart" uri="{CE6537A1-D6FC-4f65-9D91-7224C49458BB}"/>
                <c:ext xmlns:c16="http://schemas.microsoft.com/office/drawing/2014/chart" uri="{C3380CC4-5D6E-409C-BE32-E72D297353CC}">
                  <c16:uniqueId val="{00000003-842B-4E65-924B-A99FE8BF3F0C}"/>
                </c:ext>
              </c:extLst>
            </c:dLbl>
            <c:dLbl>
              <c:idx val="4"/>
              <c:delete val="1"/>
              <c:extLst>
                <c:ext xmlns:c15="http://schemas.microsoft.com/office/drawing/2012/chart" uri="{CE6537A1-D6FC-4f65-9D91-7224C49458BB}"/>
                <c:ext xmlns:c16="http://schemas.microsoft.com/office/drawing/2014/chart" uri="{C3380CC4-5D6E-409C-BE32-E72D297353CC}">
                  <c16:uniqueId val="{00000004-842B-4E65-924B-A99FE8BF3F0C}"/>
                </c:ext>
              </c:extLst>
            </c:dLbl>
            <c:dLbl>
              <c:idx val="5"/>
              <c:delete val="1"/>
              <c:extLst>
                <c:ext xmlns:c15="http://schemas.microsoft.com/office/drawing/2012/chart" uri="{CE6537A1-D6FC-4f65-9D91-7224C49458BB}"/>
                <c:ext xmlns:c16="http://schemas.microsoft.com/office/drawing/2014/chart" uri="{C3380CC4-5D6E-409C-BE32-E72D297353CC}">
                  <c16:uniqueId val="{00000005-842B-4E65-924B-A99FE8BF3F0C}"/>
                </c:ext>
              </c:extLst>
            </c:dLbl>
            <c:dLbl>
              <c:idx val="7"/>
              <c:layout>
                <c:manualLayout>
                  <c:x val="-0.12235067437379576"/>
                  <c:y val="-"/>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42B-4E65-924B-A99FE8BF3F0C}"/>
                </c:ext>
              </c:extLst>
            </c:dLbl>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IQUES!$A$46:$A$53</c:f>
              <c:strCache>
                <c:ptCount val="8"/>
                <c:pt idx="0">
                  <c:v>737 NG</c:v>
                </c:pt>
                <c:pt idx="1">
                  <c:v>737MAX</c:v>
                </c:pt>
                <c:pt idx="2">
                  <c:v>747</c:v>
                </c:pt>
                <c:pt idx="3">
                  <c:v>767</c:v>
                </c:pt>
                <c:pt idx="4">
                  <c:v>777</c:v>
                </c:pt>
                <c:pt idx="5">
                  <c:v>777X</c:v>
                </c:pt>
                <c:pt idx="6">
                  <c:v>787</c:v>
                </c:pt>
                <c:pt idx="7">
                  <c:v>TOTAL</c:v>
                </c:pt>
              </c:strCache>
            </c:strRef>
          </c:cat>
          <c:val>
            <c:numRef>
              <c:f>GRAPHIQUES!$C$46:$C$53</c:f>
              <c:numCache>
                <c:formatCode>General</c:formatCode>
                <c:ptCount val="8"/>
                <c:pt idx="0">
                  <c:v>-2</c:v>
                </c:pt>
                <c:pt idx="1">
                  <c:v>-393</c:v>
                </c:pt>
                <c:pt idx="2">
                  <c:v>-3</c:v>
                </c:pt>
                <c:pt idx="3">
                  <c:v>0</c:v>
                </c:pt>
                <c:pt idx="4">
                  <c:v>0</c:v>
                </c:pt>
                <c:pt idx="5">
                  <c:v>0</c:v>
                </c:pt>
                <c:pt idx="6">
                  <c:v>-32</c:v>
                </c:pt>
                <c:pt idx="7">
                  <c:v>-430</c:v>
                </c:pt>
              </c:numCache>
            </c:numRef>
          </c:val>
          <c:extLst>
            <c:ext xmlns:c16="http://schemas.microsoft.com/office/drawing/2014/chart" uri="{C3380CC4-5D6E-409C-BE32-E72D297353CC}">
              <c16:uniqueId val="{00000001-842B-4E65-924B-A99FE8BF3F0C}"/>
            </c:ext>
          </c:extLst>
        </c:ser>
        <c:dLbls>
          <c:dLblPos val="outEnd"/>
          <c:showLegendKey val="0"/>
          <c:showVal val="1"/>
          <c:showCatName val="0"/>
          <c:showSerName val="0"/>
          <c:showPercent val="0"/>
          <c:showBubbleSize val="0"/>
        </c:dLbls>
        <c:gapWidth val="100"/>
        <c:overlap val="100"/>
        <c:axId val="1092172992"/>
        <c:axId val="1092172008"/>
      </c:barChart>
      <c:catAx>
        <c:axId val="1092172992"/>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crossAx val="1092172008"/>
        <c:crosses val="autoZero"/>
        <c:auto val="1"/>
        <c:lblAlgn val="ctr"/>
        <c:lblOffset val="100"/>
        <c:noMultiLvlLbl val="0"/>
      </c:catAx>
      <c:valAx>
        <c:axId val="1092172008"/>
        <c:scaling>
          <c:orientation val="minMax"/>
        </c:scaling>
        <c:delete val="1"/>
        <c:axPos val="t"/>
        <c:numFmt formatCode="General" sourceLinked="1"/>
        <c:majorTickMark val="none"/>
        <c:minorTickMark val="none"/>
        <c:tickLblPos val="nextTo"/>
        <c:crossAx val="10921729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1">
          <a:solidFill>
            <a:schemeClr val="tx2"/>
          </a:solidFill>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89793195463642E-2"/>
          <c:y val="0.10450450450450451"/>
          <c:w val="0.93062041360907266"/>
          <c:h val="0.84864864864864864"/>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1-1B73-4939-8EC8-E57CDB7CD483}"/>
              </c:ext>
            </c:extLst>
          </c:dPt>
          <c:dPt>
            <c:idx val="5"/>
            <c:invertIfNegative val="0"/>
            <c:bubble3D val="0"/>
            <c:spPr>
              <a:solidFill>
                <a:srgbClr val="FDC1A1"/>
              </a:solidFill>
              <a:ln>
                <a:noFill/>
              </a:ln>
            </c:spPr>
            <c:extLst>
              <c:ext xmlns:c16="http://schemas.microsoft.com/office/drawing/2014/chart" uri="{C3380CC4-5D6E-409C-BE32-E72D297353CC}">
                <c16:uniqueId val="{00000003-1B73-4939-8EC8-E57CDB7CD483}"/>
              </c:ext>
            </c:extLst>
          </c:dPt>
          <c:dLbls>
            <c:dLbl>
              <c:idx val="0"/>
              <c:layout>
                <c:manualLayout>
                  <c:x val="0"/>
                  <c:y val="0"/>
                </c:manualLayout>
              </c:layout>
              <c:tx>
                <c:rich>
                  <a:bodyPr wrap="none"/>
                  <a:lstStyle/>
                  <a:p>
                    <a:pPr>
                      <a:defRPr sz="900" kern="1200">
                        <a:solidFill>
                          <a:schemeClr val="bg1"/>
                        </a:solidFill>
                        <a:latin typeface="Calibri"/>
                        <a:ea typeface="+mn-ea"/>
                        <a:cs typeface="Calibri"/>
                        <a:sym typeface="Calibri"/>
                      </a:defRPr>
                    </a:pPr>
                    <a:r>
                      <a:rPr lang="en-US" dirty="0"/>
                      <a:t>348</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1B73-4939-8EC8-E57CDB7CD483}"/>
                </c:ext>
              </c:extLst>
            </c:dLbl>
            <c:dLbl>
              <c:idx val="5"/>
              <c:layout>
                <c:manualLayout>
                  <c:x val="0"/>
                  <c:y val="-0.47747747747747749"/>
                </c:manualLayout>
              </c:layout>
              <c:tx>
                <c:rich>
                  <a:bodyPr wrap="none"/>
                  <a:lstStyle/>
                  <a:p>
                    <a:pPr>
                      <a:defRPr sz="900" b="1" kern="1200">
                        <a:solidFill>
                          <a:schemeClr val="tx2"/>
                        </a:solidFill>
                        <a:latin typeface="Calibri"/>
                        <a:ea typeface="+mn-ea"/>
                        <a:cs typeface="Calibri"/>
                        <a:sym typeface="Calibri"/>
                      </a:defRPr>
                    </a:pPr>
                    <a:r>
                      <a:rPr lang="en-US" dirty="0"/>
                      <a:t>472</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1B73-4939-8EC8-E57CDB7CD4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48.5</c:v>
                </c:pt>
                <c:pt idx="1">
                  <c:v>448.5</c:v>
                </c:pt>
                <c:pt idx="2">
                  <c:v>464.5</c:v>
                </c:pt>
                <c:pt idx="3">
                  <c:v>474.5</c:v>
                </c:pt>
                <c:pt idx="4">
                  <c:v>497.5</c:v>
                </c:pt>
                <c:pt idx="5">
                  <c:v>595.29999999999995</c:v>
                </c:pt>
              </c:numCache>
            </c:numRef>
          </c:val>
          <c:extLst>
            <c:ext xmlns:c16="http://schemas.microsoft.com/office/drawing/2014/chart" uri="{C3380CC4-5D6E-409C-BE32-E72D297353CC}">
              <c16:uniqueId val="{00000004-1B73-4939-8EC8-E57CDB7CD483}"/>
            </c:ext>
          </c:extLst>
        </c:ser>
        <c:ser>
          <c:idx val="1"/>
          <c:order val="1"/>
          <c:spPr>
            <a:solidFill>
              <a:schemeClr val="accent2"/>
            </a:solidFill>
            <a:ln>
              <a:noFill/>
            </a:ln>
          </c:spPr>
          <c:invertIfNegative val="0"/>
          <c:dLbls>
            <c:dLbl>
              <c:idx val="4"/>
              <c:layout>
                <c:manualLayout>
                  <c:x val="0"/>
                  <c:y val="0"/>
                </c:manualLayout>
              </c:layout>
              <c:tx>
                <c:rich>
                  <a:bodyPr wrap="none"/>
                  <a:lstStyle/>
                  <a:p>
                    <a:pPr>
                      <a:defRPr sz="900" kern="1200">
                        <a:solidFill>
                          <a:schemeClr val="bg1"/>
                        </a:solidFill>
                        <a:latin typeface="Calibri"/>
                        <a:ea typeface="+mn-ea"/>
                        <a:cs typeface="Calibri"/>
                        <a:sym typeface="Calibri"/>
                      </a:defRPr>
                    </a:pPr>
                    <a:r>
                      <a:rPr lang="en-US" dirty="0"/>
                      <a:t>109</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1B73-4939-8EC8-E57CDB7CD4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16</c:v>
                </c:pt>
                <c:pt idx="2">
                  <c:v>10</c:v>
                </c:pt>
                <c:pt idx="3">
                  <c:v>23</c:v>
                </c:pt>
                <c:pt idx="4">
                  <c:v>97.799999999999955</c:v>
                </c:pt>
              </c:numCache>
            </c:numRef>
          </c:val>
          <c:extLst>
            <c:ext xmlns:c16="http://schemas.microsoft.com/office/drawing/2014/chart" uri="{C3380CC4-5D6E-409C-BE32-E72D297353CC}">
              <c16:uniqueId val="{00000006-1B73-4939-8EC8-E57CDB7CD483}"/>
            </c:ext>
          </c:extLst>
        </c:ser>
        <c:dLbls>
          <c:showLegendKey val="0"/>
          <c:showVal val="0"/>
          <c:showCatName val="0"/>
          <c:showSerName val="0"/>
          <c:showPercent val="0"/>
          <c:showBubbleSize val="0"/>
        </c:dLbls>
        <c:gapWidth val="80"/>
        <c:overlap val="100"/>
        <c:axId val="973220536"/>
        <c:axId val="1"/>
      </c:barChart>
      <c:catAx>
        <c:axId val="973220536"/>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595.29999999999995"/>
          <c:min val="0"/>
        </c:scaling>
        <c:delete val="1"/>
        <c:axPos val="l"/>
        <c:numFmt formatCode="General" sourceLinked="1"/>
        <c:majorTickMark val="out"/>
        <c:minorTickMark val="none"/>
        <c:tickLblPos val="nextTo"/>
        <c:crossAx val="973220536"/>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634095634095639E-2"/>
          <c:y val="3.7490987743330928E-2"/>
          <c:w val="0.86832986832986836"/>
          <c:h val="0.92501802451333814"/>
        </c:manualLayout>
      </c:layout>
      <c:barChart>
        <c:barDir val="bar"/>
        <c:grouping val="clustered"/>
        <c:varyColors val="0"/>
        <c:ser>
          <c:idx val="0"/>
          <c:order val="0"/>
          <c:spPr>
            <a:pattFill prst="ltDnDiag">
              <a:fgClr>
                <a:schemeClr val="tx1"/>
              </a:fgClr>
              <a:bgClr>
                <a:schemeClr val="bg1"/>
              </a:bgClr>
            </a:pattFill>
            <a:ln>
              <a:noFill/>
            </a:ln>
          </c:spPr>
          <c:invertIfNegative val="0"/>
          <c:dLbls>
            <c:dLbl>
              <c:idx val="0"/>
              <c:layout>
                <c:manualLayout>
                  <c:x val="7.9002079002079006E-2"/>
                  <c:y val="0"/>
                </c:manualLayout>
              </c:layout>
              <c:numFmt formatCode="#,##0;&quot;-&quot;#,##0" sourceLinked="0"/>
              <c:spPr>
                <a:noFill/>
                <a:ln>
                  <a:noFill/>
                </a:ln>
              </c:spPr>
              <c:txPr>
                <a:bodyPr wrap="none"/>
                <a:lstStyle/>
                <a:p>
                  <a:pPr>
                    <a:defRPr sz="1000" kern="12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23D-4F49-B393-785B25FAC892}"/>
                </c:ext>
              </c:extLst>
            </c:dLbl>
            <c:dLbl>
              <c:idx val="1"/>
              <c:layout>
                <c:manualLayout>
                  <c:x val="-6.8872249115251114E-3"/>
                  <c:y val="5.7692054410288015E-3"/>
                </c:manualLayout>
              </c:layout>
              <c:numFmt formatCode="#,##0;&quot;-&quot;#,##0" sourceLinked="0"/>
              <c:spPr>
                <a:noFill/>
                <a:ln>
                  <a:noFill/>
                </a:ln>
              </c:spPr>
              <c:txPr>
                <a:bodyPr wrap="none"/>
                <a:lstStyle/>
                <a:p>
                  <a:pPr>
                    <a:defRPr sz="1000" kern="1200">
                      <a:solidFill>
                        <a:schemeClr val="bg1">
                          <a:lumMod val="75000"/>
                        </a:schemeClr>
                      </a:solidFill>
                      <a:latin typeface="Calibri"/>
                      <a:ea typeface="+mn-ea"/>
                      <a:cs typeface="Calibri"/>
                    </a:defRPr>
                  </a:pPr>
                  <a:endParaRPr lang="fr-FR"/>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23D-4F49-B393-785B25FAC892}"/>
                </c:ext>
              </c:extLst>
            </c:dLbl>
            <c:dLbl>
              <c:idx val="2"/>
              <c:layout>
                <c:manualLayout>
                  <c:x val="2.1483021483021482E-2"/>
                  <c:y val="0"/>
                </c:manualLayout>
              </c:layout>
              <c:numFmt formatCode="#,##0;&quot;-&quot;#,##0" sourceLinked="0"/>
              <c:spPr>
                <a:noFill/>
                <a:ln>
                  <a:noFill/>
                </a:ln>
              </c:spPr>
              <c:txPr>
                <a:bodyPr wrap="none"/>
                <a:lstStyle/>
                <a:p>
                  <a:pPr>
                    <a:defRPr sz="1000" kern="12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23D-4F49-B393-785B25FAC892}"/>
                </c:ext>
              </c:extLst>
            </c:dLbl>
            <c:dLbl>
              <c:idx val="3"/>
              <c:layout>
                <c:manualLayout>
                  <c:x val="7.9002079002079006E-2"/>
                  <c:y val="0"/>
                </c:manualLayout>
              </c:layout>
              <c:numFmt formatCode="#,##0;&quot;-&quot;#,##0" sourceLinked="0"/>
              <c:spPr>
                <a:noFill/>
                <a:ln>
                  <a:noFill/>
                </a:ln>
              </c:spPr>
              <c:txPr>
                <a:bodyPr wrap="none"/>
                <a:lstStyle/>
                <a:p>
                  <a:pPr>
                    <a:defRPr sz="1000" kern="12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23D-4F49-B393-785B25FAC8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 ##0;"-"#\ ##0</c:formatCode>
                <c:ptCount val="4"/>
                <c:pt idx="0">
                  <c:v>5</c:v>
                </c:pt>
                <c:pt idx="1">
                  <c:v>45</c:v>
                </c:pt>
                <c:pt idx="2">
                  <c:v>2</c:v>
                </c:pt>
                <c:pt idx="3">
                  <c:v>5</c:v>
                </c:pt>
              </c:numCache>
            </c:numRef>
          </c:val>
          <c:extLst>
            <c:ext xmlns:c16="http://schemas.microsoft.com/office/drawing/2014/chart" uri="{C3380CC4-5D6E-409C-BE32-E72D297353CC}">
              <c16:uniqueId val="{00000004-C23D-4F49-B393-785B25FAC892}"/>
            </c:ext>
          </c:extLst>
        </c:ser>
        <c:ser>
          <c:idx val="1"/>
          <c:order val="1"/>
          <c:spPr>
            <a:solidFill>
              <a:srgbClr val="44546A"/>
            </a:solidFill>
            <a:ln>
              <a:noFill/>
            </a:ln>
          </c:spPr>
          <c:invertIfNegative val="0"/>
          <c:dLbls>
            <c:dLbl>
              <c:idx val="0"/>
              <c:layout>
                <c:manualLayout>
                  <c:x val="7.9002079002079006E-2"/>
                  <c:y val="0"/>
                </c:manualLayout>
              </c:layout>
              <c:numFmt formatCode="#,##0;&quot;-&quot;#,##0" sourceLinked="0"/>
              <c:spPr>
                <a:noFill/>
                <a:ln>
                  <a:noFill/>
                </a:ln>
              </c:spPr>
              <c:txPr>
                <a:bodyPr wrap="none"/>
                <a:lstStyle/>
                <a:p>
                  <a:pPr>
                    <a:defRPr sz="1000" b="1"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23D-4F49-B393-785B25FAC892}"/>
                </c:ext>
              </c:extLst>
            </c:dLbl>
            <c:dLbl>
              <c:idx val="1"/>
              <c:layout>
                <c:manualLayout>
                  <c:x val="0.48163548163548164"/>
                  <c:y val="0"/>
                </c:manualLayout>
              </c:layout>
              <c:numFmt formatCode="#,##0;&quot;-&quot;#,##0" sourceLinked="0"/>
              <c:spPr>
                <a:noFill/>
                <a:ln>
                  <a:noFill/>
                </a:ln>
              </c:spPr>
              <c:txPr>
                <a:bodyPr wrap="none"/>
                <a:lstStyle/>
                <a:p>
                  <a:pPr>
                    <a:defRPr sz="1000" b="1"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23D-4F49-B393-785B25FAC892}"/>
                </c:ext>
              </c:extLst>
            </c:dLbl>
            <c:dLbl>
              <c:idx val="2"/>
              <c:layout>
                <c:manualLayout>
                  <c:x val="2.1483021483021482E-2"/>
                  <c:y val="0"/>
                </c:manualLayout>
              </c:layout>
              <c:numFmt formatCode="#,##0;&quot;-&quot;#,##0" sourceLinked="0"/>
              <c:spPr>
                <a:noFill/>
                <a:ln>
                  <a:noFill/>
                </a:ln>
              </c:spPr>
              <c:txPr>
                <a:bodyPr wrap="none"/>
                <a:lstStyle/>
                <a:p>
                  <a:pPr>
                    <a:defRPr sz="1000" b="1" kern="1200">
                      <a:solidFill>
                        <a:schemeClr val="tx2"/>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23D-4F49-B393-785B25FAC892}"/>
                </c:ext>
              </c:extLst>
            </c:dLbl>
            <c:dLbl>
              <c:idx val="3"/>
              <c:layout>
                <c:manualLayout>
                  <c:x val="7.9002079002079006E-2"/>
                  <c:y val="0"/>
                </c:manualLayout>
              </c:layout>
              <c:numFmt formatCode="#,##0;&quot;-&quot;#,##0" sourceLinked="0"/>
              <c:spPr>
                <a:noFill/>
                <a:ln>
                  <a:noFill/>
                </a:ln>
              </c:spPr>
              <c:txPr>
                <a:bodyPr wrap="none"/>
                <a:lstStyle/>
                <a:p>
                  <a:pPr>
                    <a:defRPr sz="1000" b="1"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23D-4F49-B393-785B25FAC8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 ##0;"-"#\ ##0</c:formatCode>
                <c:ptCount val="4"/>
                <c:pt idx="0">
                  <c:v>5</c:v>
                </c:pt>
                <c:pt idx="1">
                  <c:v>45</c:v>
                </c:pt>
                <c:pt idx="2">
                  <c:v>2</c:v>
                </c:pt>
                <c:pt idx="3">
                  <c:v>5</c:v>
                </c:pt>
              </c:numCache>
            </c:numRef>
          </c:val>
          <c:extLst>
            <c:ext xmlns:c16="http://schemas.microsoft.com/office/drawing/2014/chart" uri="{C3380CC4-5D6E-409C-BE32-E72D297353CC}">
              <c16:uniqueId val="{00000009-C23D-4F49-B393-785B25FAC892}"/>
            </c:ext>
          </c:extLst>
        </c:ser>
        <c:dLbls>
          <c:showLegendKey val="0"/>
          <c:showVal val="0"/>
          <c:showCatName val="0"/>
          <c:showSerName val="0"/>
          <c:showPercent val="0"/>
          <c:showBubbleSize val="0"/>
        </c:dLbls>
        <c:gapWidth val="80"/>
        <c:axId val="1292427376"/>
        <c:axId val="1"/>
      </c:barChart>
      <c:catAx>
        <c:axId val="1292427376"/>
        <c:scaling>
          <c:orientation val="maxMin"/>
        </c:scaling>
        <c:delete val="0"/>
        <c:axPos val="r"/>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axMin"/>
          <c:max val="45"/>
          <c:min val="0"/>
        </c:scaling>
        <c:delete val="1"/>
        <c:axPos val="t"/>
        <c:numFmt formatCode="#\ ##0;&quot;-&quot;#\ ##0" sourceLinked="1"/>
        <c:majorTickMark val="out"/>
        <c:minorTickMark val="none"/>
        <c:tickLblPos val="nextTo"/>
        <c:crossAx val="1292427376"/>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F240388-6464-4895-887B-B237F5325D0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CC5B57CC-6F0C-46CE-BF3A-B9403BC1E3F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C30CD56-397E-47D2-B48C-3A5E81C3739D}" type="datetimeFigureOut">
              <a:rPr lang="fr-FR" smtClean="0"/>
              <a:t>12/01/2022</a:t>
            </a:fld>
            <a:endParaRPr lang="fr-FR"/>
          </a:p>
        </p:txBody>
      </p:sp>
      <p:sp>
        <p:nvSpPr>
          <p:cNvPr id="4" name="Espace réservé du pied de page 3">
            <a:extLst>
              <a:ext uri="{FF2B5EF4-FFF2-40B4-BE49-F238E27FC236}">
                <a16:creationId xmlns:a16="http://schemas.microsoft.com/office/drawing/2014/main" id="{A06D7634-2910-4F62-96B4-EB9254B4BA0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A3299A40-0835-44DD-8B29-CEAB9E3B04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9965E39-BAE1-4D28-A36F-AAE1FA28C999}" type="slidenum">
              <a:rPr lang="fr-FR" smtClean="0"/>
              <a:t>‹N°›</a:t>
            </a:fld>
            <a:endParaRPr lang="fr-FR"/>
          </a:p>
        </p:txBody>
      </p:sp>
    </p:spTree>
    <p:extLst>
      <p:ext uri="{BB962C8B-B14F-4D97-AF65-F5344CB8AC3E}">
        <p14:creationId xmlns:p14="http://schemas.microsoft.com/office/powerpoint/2010/main" val="15647192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FF5EBF-8145-475B-9597-E7E1FE5F1E58}" type="datetimeFigureOut">
              <a:rPr lang="fr-FR" smtClean="0"/>
              <a:t>12/01/2022</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E666B4-33A2-4D1C-9D02-4931444BF20F}" type="slidenum">
              <a:rPr lang="fr-FR" smtClean="0"/>
              <a:t>‹N°›</a:t>
            </a:fld>
            <a:endParaRPr lang="fr-FR"/>
          </a:p>
        </p:txBody>
      </p:sp>
    </p:spTree>
    <p:extLst>
      <p:ext uri="{BB962C8B-B14F-4D97-AF65-F5344CB8AC3E}">
        <p14:creationId xmlns:p14="http://schemas.microsoft.com/office/powerpoint/2010/main" val="26617042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7561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6E666B4-33A2-4D1C-9D02-4931444BF20F}" type="slidenum">
              <a:rPr lang="fr-FR" smtClean="0"/>
              <a:t>5</a:t>
            </a:fld>
            <a:endParaRPr lang="fr-FR"/>
          </a:p>
        </p:txBody>
      </p:sp>
    </p:spTree>
    <p:extLst>
      <p:ext uri="{BB962C8B-B14F-4D97-AF65-F5344CB8AC3E}">
        <p14:creationId xmlns:p14="http://schemas.microsoft.com/office/powerpoint/2010/main" val="40517634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a:prstGeom prst="rect">
            <a:avLst/>
          </a:prstGeo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7420499" y="494312"/>
            <a:ext cx="4084067" cy="1260000"/>
          </a:xfrm>
          <a:prstGeom prst="rect">
            <a:avLst/>
          </a:prstGeom>
        </p:spPr>
      </p:pic>
      <p:grpSp>
        <p:nvGrpSpPr>
          <p:cNvPr id="51" name="Groupe 50"/>
          <p:cNvGrpSpPr/>
          <p:nvPr/>
        </p:nvGrpSpPr>
        <p:grpSpPr>
          <a:xfrm>
            <a:off x="12484046" y="28361"/>
            <a:ext cx="5618997" cy="1943442"/>
            <a:chOff x="9363034" y="28361"/>
            <a:chExt cx="4214248" cy="1943442"/>
          </a:xfrm>
        </p:grpSpPr>
        <p:sp>
          <p:nvSpPr>
            <p:cNvPr id="5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5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5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10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10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10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10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10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11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11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11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11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11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11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11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11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11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11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12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12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12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12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12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12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12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12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12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12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13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13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13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133"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34"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6886887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5564287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7381156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0930739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1151025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720000" y="972102"/>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720000" y="1242000"/>
            <a:ext cx="1075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5855973" y="6057366"/>
            <a:ext cx="2688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Septembre 2020</a:t>
            </a:r>
            <a:endParaRPr lang="fr-FR" dirty="0"/>
          </a:p>
        </p:txBody>
      </p:sp>
      <p:sp>
        <p:nvSpPr>
          <p:cNvPr id="7" name="Espace réservé du pied de page 6"/>
          <p:cNvSpPr>
            <a:spLocks noGrp="1"/>
          </p:cNvSpPr>
          <p:nvPr>
            <p:ph type="ftr" sz="quarter" idx="15"/>
          </p:nvPr>
        </p:nvSpPr>
        <p:spPr>
          <a:xfrm>
            <a:off x="1149451" y="6192682"/>
            <a:ext cx="4560000" cy="440684"/>
          </a:xfrm>
        </p:spPr>
        <p:txBody>
          <a:bodyPr/>
          <a:lstStyle/>
          <a:p>
            <a:pPr algn="l"/>
            <a:r>
              <a:rPr lang="fr-FR"/>
              <a:t>Dashboard Marché Aéronautique - Nov/Dec 2021</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18861976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Septembre 2020</a:t>
            </a:r>
            <a:endParaRPr lang="fr-FR" dirty="0"/>
          </a:p>
        </p:txBody>
      </p:sp>
      <p:sp>
        <p:nvSpPr>
          <p:cNvPr id="10" name="Espace réservé du pied de page 9"/>
          <p:cNvSpPr>
            <a:spLocks noGrp="1"/>
          </p:cNvSpPr>
          <p:nvPr>
            <p:ph type="ftr" sz="quarter" idx="15"/>
          </p:nvPr>
        </p:nvSpPr>
        <p:spPr bwMode="gray"/>
        <p:txBody>
          <a:bodyPr/>
          <a:lstStyle/>
          <a:p>
            <a:pPr algn="l"/>
            <a:r>
              <a:rPr lang="fr-FR"/>
              <a:t>Dashboard Marché Aéronautique - Nov/Dec 2021</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6480000" y="1242000"/>
            <a:ext cx="499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533013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720000" y="1291282"/>
            <a:ext cx="5376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Nov/Dec 2021</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6480000" y="1242882"/>
            <a:ext cx="4992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7115853"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9502619"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207886487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6499201" y="1306264"/>
            <a:ext cx="4973433"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Septembre 2020</a:t>
            </a:r>
            <a:endParaRPr lang="fr-FR" dirty="0"/>
          </a:p>
        </p:txBody>
      </p:sp>
      <p:sp>
        <p:nvSpPr>
          <p:cNvPr id="6" name="Espace réservé du pied de page 5"/>
          <p:cNvSpPr>
            <a:spLocks noGrp="1"/>
          </p:cNvSpPr>
          <p:nvPr>
            <p:ph type="ftr" sz="quarter" idx="20"/>
          </p:nvPr>
        </p:nvSpPr>
        <p:spPr bwMode="gray"/>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7285603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Septembre 2020</a:t>
            </a:r>
            <a:endParaRPr lang="fr-FR" dirty="0"/>
          </a:p>
        </p:txBody>
      </p:sp>
      <p:sp>
        <p:nvSpPr>
          <p:cNvPr id="15" name="Espace réservé du pied de page 14"/>
          <p:cNvSpPr>
            <a:spLocks noGrp="1"/>
          </p:cNvSpPr>
          <p:nvPr>
            <p:ph type="ftr" sz="quarter" idx="25"/>
          </p:nvPr>
        </p:nvSpPr>
        <p:spPr bwMode="gray"/>
        <p:txBody>
          <a:bodyPr/>
          <a:lstStyle/>
          <a:p>
            <a:pPr algn="l"/>
            <a:r>
              <a:rPr lang="fr-FR"/>
              <a:t>Dashboard Marché Aéronautique - Nov/Dec 2021</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6817312"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9205085"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6817312"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9205085"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8802443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48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15740791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504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418594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9978308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20000" y="2420888"/>
            <a:ext cx="48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6672000" y="2420888"/>
            <a:ext cx="48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Nov/Dec 2021</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720000" y="1242000"/>
            <a:ext cx="547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6480000" y="1242000"/>
            <a:ext cx="499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6262580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9397003" y="5968402"/>
            <a:ext cx="2100379" cy="648000"/>
          </a:xfrm>
          <a:prstGeom prst="rect">
            <a:avLst/>
          </a:prstGeom>
        </p:spPr>
      </p:pic>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50343" y="2106944"/>
            <a:ext cx="2640000" cy="731871"/>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923362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3" y="5968402"/>
            <a:ext cx="2100379" cy="648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50343" y="2106944"/>
            <a:ext cx="2640000" cy="731871"/>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054396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4" y="5968402"/>
            <a:ext cx="2100377" cy="648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980729"/>
            <a:ext cx="2644067" cy="899999"/>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01683" y="1958275"/>
            <a:ext cx="2125548" cy="881770"/>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2938101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4" y="5968402"/>
            <a:ext cx="2100377" cy="648000"/>
          </a:xfrm>
          <a:prstGeom prst="rect">
            <a:avLst/>
          </a:prstGeom>
        </p:spPr>
      </p:pic>
      <p:sp>
        <p:nvSpPr>
          <p:cNvPr id="16"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8" name="Imag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980729"/>
            <a:ext cx="2644067" cy="899999"/>
          </a:xfrm>
          <a:prstGeom prst="rect">
            <a:avLst/>
          </a:prstGeom>
        </p:spPr>
      </p:pic>
      <p:pic>
        <p:nvPicPr>
          <p:cNvPr id="19" name="Imag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01683" y="1958275"/>
            <a:ext cx="2125548" cy="881770"/>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8720809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13" name="Groupe 12"/>
          <p:cNvGrpSpPr/>
          <p:nvPr/>
        </p:nvGrpSpPr>
        <p:grpSpPr>
          <a:xfrm>
            <a:off x="3362508" y="2559571"/>
            <a:ext cx="5466984" cy="900000"/>
            <a:chOff x="3580474" y="2559571"/>
            <a:chExt cx="4100238" cy="900000"/>
          </a:xfrm>
        </p:grpSpPr>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80474" y="2559571"/>
              <a:ext cx="1983052" cy="900000"/>
            </a:xfrm>
            <a:prstGeom prst="rect">
              <a:avLst/>
            </a:prstGeom>
          </p:spPr>
        </p:pic>
        <p:pic>
          <p:nvPicPr>
            <p:cNvPr id="15" name="Imag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00712" y="2643635"/>
              <a:ext cx="1980000" cy="731871"/>
            </a:xfrm>
            <a:prstGeom prst="rect">
              <a:avLst/>
            </a:prstGeom>
          </p:spPr>
        </p:pic>
      </p:grpSp>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6327462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grpSp>
        <p:nvGrpSpPr>
          <p:cNvPr id="14" name="Groupe 13"/>
          <p:cNvGrpSpPr/>
          <p:nvPr/>
        </p:nvGrpSpPr>
        <p:grpSpPr>
          <a:xfrm>
            <a:off x="3362508" y="2559571"/>
            <a:ext cx="5466984" cy="900000"/>
            <a:chOff x="3580474" y="2559571"/>
            <a:chExt cx="4100238" cy="900000"/>
          </a:xfrm>
        </p:grpSpPr>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80474" y="2559571"/>
              <a:ext cx="1983052" cy="900000"/>
            </a:xfrm>
            <a:prstGeom prst="rect">
              <a:avLst/>
            </a:prstGeom>
          </p:spPr>
        </p:pic>
        <p:pic>
          <p:nvPicPr>
            <p:cNvPr id="17" name="Imag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00712" y="2643635"/>
              <a:ext cx="1980000" cy="731871"/>
            </a:xfrm>
            <a:prstGeom prst="rect">
              <a:avLst/>
            </a:prstGeom>
          </p:spPr>
        </p:pic>
      </p:grpSp>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932345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grpSp>
        <p:nvGrpSpPr>
          <p:cNvPr id="12" name="Groupe 11"/>
          <p:cNvGrpSpPr/>
          <p:nvPr/>
        </p:nvGrpSpPr>
        <p:grpSpPr>
          <a:xfrm>
            <a:off x="3228040" y="2556656"/>
            <a:ext cx="5040376" cy="900000"/>
            <a:chOff x="2421030" y="2556656"/>
            <a:chExt cx="3780282" cy="900000"/>
          </a:xfrm>
        </p:grpSpPr>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21030" y="2556656"/>
              <a:ext cx="1983050" cy="900000"/>
            </a:xfrm>
            <a:prstGeom prst="rect">
              <a:avLst/>
            </a:prstGeom>
          </p:spPr>
        </p:pic>
        <p:pic>
          <p:nvPicPr>
            <p:cNvPr id="16" name="Imag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07151" y="2556656"/>
              <a:ext cx="1594161" cy="881770"/>
            </a:xfrm>
            <a:prstGeom prst="rect">
              <a:avLst/>
            </a:prstGeom>
          </p:spPr>
        </p:pic>
      </p:grpSp>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13015152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16" name="Groupe 15"/>
          <p:cNvGrpSpPr/>
          <p:nvPr/>
        </p:nvGrpSpPr>
        <p:grpSpPr>
          <a:xfrm>
            <a:off x="3228040" y="2556656"/>
            <a:ext cx="5040376" cy="900000"/>
            <a:chOff x="2421030" y="2556656"/>
            <a:chExt cx="3780282" cy="900000"/>
          </a:xfrm>
        </p:grpSpPr>
        <p:pic>
          <p:nvPicPr>
            <p:cNvPr id="17" name="Imag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21030" y="2556656"/>
              <a:ext cx="1983050" cy="900000"/>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07151" y="2556656"/>
              <a:ext cx="1594161" cy="881770"/>
            </a:xfrm>
            <a:prstGeom prst="rect">
              <a:avLst/>
            </a:prstGeom>
          </p:spPr>
        </p:pic>
      </p:grpSp>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9914324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2964395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6488027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OWER_USER_LAYOUT_AGENDA">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14B2974B-E0D1-4147-81B9-1E7428B8B166}"/>
              </a:ext>
            </a:extLst>
          </p:cNvPr>
          <p:cNvGraphicFramePr>
            <a:graphicFrameLocks noChangeAspect="1"/>
          </p:cNvGraphicFramePr>
          <p:nvPr userDrawn="1">
            <p:custDataLst>
              <p:tags r:id="rId1"/>
            </p:custDataLst>
            <p:extLst>
              <p:ext uri="{D42A27DB-BD31-4B8C-83A1-F6EECF244321}">
                <p14:modId xmlns:p14="http://schemas.microsoft.com/office/powerpoint/2010/main" val="2550537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4" imgH="344" progId="TCLayout.ActiveDocument.1">
                  <p:embed/>
                </p:oleObj>
              </mc:Choice>
              <mc:Fallback>
                <p:oleObj name="Diapositive think-cell" r:id="rId4" imgW="344" imgH="344" progId="TCLayout.ActiveDocument.1">
                  <p:embed/>
                  <p:pic>
                    <p:nvPicPr>
                      <p:cNvPr id="5" name="Objet 4" hidden="1">
                        <a:extLst>
                          <a:ext uri="{FF2B5EF4-FFF2-40B4-BE49-F238E27FC236}">
                            <a16:creationId xmlns:a16="http://schemas.microsoft.com/office/drawing/2014/main" id="{14B2974B-E0D1-4147-81B9-1E7428B8B1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2B6D3BA-57F2-4D42-81EE-81AD9313306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200" b="1" i="0" baseline="0" dirty="0">
              <a:latin typeface="Arial" panose="020B0604020202020204" pitchFamily="34" charset="0"/>
              <a:ea typeface="+mj-ea"/>
              <a:cs typeface="+mj-cs"/>
              <a:sym typeface="Arial" panose="020B0604020202020204" pitchFamily="34" charset="0"/>
            </a:endParaRPr>
          </a:p>
        </p:txBody>
      </p:sp>
      <p:sp>
        <p:nvSpPr>
          <p:cNvPr id="9" name="Espace réservé du contenu 2"/>
          <p:cNvSpPr>
            <a:spLocks noGrp="1"/>
          </p:cNvSpPr>
          <p:nvPr>
            <p:ph idx="1" hasCustomPrompt="1"/>
          </p:nvPr>
        </p:nvSpPr>
        <p:spPr bwMode="gray">
          <a:xfrm>
            <a:off x="720000" y="1242000"/>
            <a:ext cx="1075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12" name="Titre 1">
            <a:extLst>
              <a:ext uri="{FF2B5EF4-FFF2-40B4-BE49-F238E27FC236}">
                <a16:creationId xmlns:a16="http://schemas.microsoft.com/office/drawing/2014/main" id="{94422CB1-7BB3-4466-90D4-DB18383BEC21}"/>
              </a:ext>
            </a:extLst>
          </p:cNvPr>
          <p:cNvSpPr>
            <a:spLocks noGrp="1"/>
          </p:cNvSpPr>
          <p:nvPr>
            <p:ph type="title"/>
          </p:nvPr>
        </p:nvSpPr>
        <p:spPr bwMode="gray">
          <a:xfrm>
            <a:off x="720000" y="1"/>
            <a:ext cx="10752000" cy="829737"/>
          </a:xfrm>
        </p:spPr>
        <p:txBody>
          <a:bodyPr/>
          <a:lstStyle/>
          <a:p>
            <a:r>
              <a:rPr lang="fr-FR"/>
              <a:t>Modifiez le style du titre</a:t>
            </a:r>
          </a:p>
        </p:txBody>
      </p:sp>
      <p:cxnSp>
        <p:nvCxnSpPr>
          <p:cNvPr id="11" name="Connecteur droit 10">
            <a:extLst>
              <a:ext uri="{FF2B5EF4-FFF2-40B4-BE49-F238E27FC236}">
                <a16:creationId xmlns:a16="http://schemas.microsoft.com/office/drawing/2014/main" id="{CF4EB3FB-D647-40B8-AA8F-1FB63E0927D6}"/>
              </a:ext>
            </a:extLst>
          </p:cNvPr>
          <p:cNvCxnSpPr/>
          <p:nvPr userDrawn="1"/>
        </p:nvCxnSpPr>
        <p:spPr bwMode="gray">
          <a:xfrm>
            <a:off x="720000" y="88724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 name="Espace réservé de la date 1">
            <a:extLst>
              <a:ext uri="{FF2B5EF4-FFF2-40B4-BE49-F238E27FC236}">
                <a16:creationId xmlns:a16="http://schemas.microsoft.com/office/drawing/2014/main" id="{445AE510-8A8E-498B-85E8-6B8737316B6A}"/>
              </a:ext>
            </a:extLst>
          </p:cNvPr>
          <p:cNvSpPr>
            <a:spLocks noGrp="1"/>
          </p:cNvSpPr>
          <p:nvPr>
            <p:ph type="dt" sz="half" idx="14"/>
          </p:nvPr>
        </p:nvSpPr>
        <p:spPr/>
        <p:txBody>
          <a:bodyPr/>
          <a:lstStyle/>
          <a:p>
            <a:r>
              <a:rPr lang="fr-FR"/>
              <a:t>Septembre 2020</a:t>
            </a:r>
            <a:endParaRPr lang="fr-FR" dirty="0"/>
          </a:p>
        </p:txBody>
      </p:sp>
      <p:sp>
        <p:nvSpPr>
          <p:cNvPr id="6" name="Espace réservé du pied de page 5">
            <a:extLst>
              <a:ext uri="{FF2B5EF4-FFF2-40B4-BE49-F238E27FC236}">
                <a16:creationId xmlns:a16="http://schemas.microsoft.com/office/drawing/2014/main" id="{9C7BF123-7212-46C1-8A11-D535586F733A}"/>
              </a:ext>
            </a:extLst>
          </p:cNvPr>
          <p:cNvSpPr>
            <a:spLocks noGrp="1"/>
          </p:cNvSpPr>
          <p:nvPr>
            <p:ph type="ftr" sz="quarter" idx="15"/>
          </p:nvPr>
        </p:nvSpPr>
        <p:spPr/>
        <p:txBody>
          <a:bodyPr/>
          <a:lstStyle/>
          <a:p>
            <a:pPr algn="l"/>
            <a:r>
              <a:rPr lang="fr-FR"/>
              <a:t>Dashboard Marché Aéronautique - Nov/Dec 2021</a:t>
            </a:r>
            <a:endParaRPr lang="fr-FR" dirty="0"/>
          </a:p>
        </p:txBody>
      </p:sp>
      <p:sp>
        <p:nvSpPr>
          <p:cNvPr id="7" name="Espace réservé du numéro de diapositive 6">
            <a:extLst>
              <a:ext uri="{FF2B5EF4-FFF2-40B4-BE49-F238E27FC236}">
                <a16:creationId xmlns:a16="http://schemas.microsoft.com/office/drawing/2014/main" id="{896E3679-0E43-4B70-BF4D-1F4AD3DC090C}"/>
              </a:ext>
            </a:extLst>
          </p:cNvPr>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3136665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Septembre 2020</a:t>
            </a:r>
            <a:endParaRPr lang="fr-FR" dirty="0"/>
          </a:p>
        </p:txBody>
      </p:sp>
      <p:sp>
        <p:nvSpPr>
          <p:cNvPr id="10" name="Espace réservé du pied de page 9"/>
          <p:cNvSpPr>
            <a:spLocks noGrp="1"/>
          </p:cNvSpPr>
          <p:nvPr>
            <p:ph type="ftr" sz="quarter" idx="15"/>
          </p:nvPr>
        </p:nvSpPr>
        <p:spPr bwMode="gray"/>
        <p:txBody>
          <a:bodyPr/>
          <a:lstStyle/>
          <a:p>
            <a:pPr algn="l"/>
            <a:r>
              <a:rPr lang="fr-FR"/>
              <a:t>Dashboard Marché Aéronautique - Nov/Dec 2021</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6480000" y="1242000"/>
            <a:ext cx="499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a:xfrm>
            <a:off x="720000" y="1"/>
            <a:ext cx="10752000" cy="829737"/>
          </a:xfrm>
          <a:prstGeom prst="rect">
            <a:avLst/>
          </a:prstGeom>
        </p:spPr>
        <p:txBody>
          <a:bodyPr/>
          <a:lstStyle/>
          <a:p>
            <a:r>
              <a:rPr lang="fr-FR"/>
              <a:t>Modifiez le style du titre</a:t>
            </a:r>
          </a:p>
        </p:txBody>
      </p:sp>
    </p:spTree>
    <p:extLst>
      <p:ext uri="{BB962C8B-B14F-4D97-AF65-F5344CB8AC3E}">
        <p14:creationId xmlns:p14="http://schemas.microsoft.com/office/powerpoint/2010/main" val="23302820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720000" y="1291282"/>
            <a:ext cx="5376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a:xfrm>
            <a:off x="720000" y="1"/>
            <a:ext cx="10752000" cy="829737"/>
          </a:xfrm>
          <a:prstGeom prst="rect">
            <a:avLst/>
          </a:prstGeom>
        </p:spPr>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Nov/Dec 2021</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6480000" y="1242882"/>
            <a:ext cx="4992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7115853"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9502619"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16617235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6499201" y="1306264"/>
            <a:ext cx="4973433"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Cliquez pour 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Septembre 2020</a:t>
            </a:r>
            <a:endParaRPr lang="fr-FR" dirty="0"/>
          </a:p>
        </p:txBody>
      </p:sp>
      <p:sp>
        <p:nvSpPr>
          <p:cNvPr id="6" name="Espace réservé du pied de page 5"/>
          <p:cNvSpPr>
            <a:spLocks noGrp="1"/>
          </p:cNvSpPr>
          <p:nvPr>
            <p:ph type="ftr" sz="quarter" idx="20"/>
          </p:nvPr>
        </p:nvSpPr>
        <p:spPr bwMode="gray"/>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a:xfrm>
            <a:off x="720000" y="1"/>
            <a:ext cx="10752000" cy="829737"/>
          </a:xfrm>
          <a:prstGeom prst="rect">
            <a:avLst/>
          </a:prstGeom>
        </p:spPr>
        <p:txBody>
          <a:bodyPr/>
          <a:lstStyle/>
          <a:p>
            <a:r>
              <a:rPr lang="fr-FR"/>
              <a:t>Modifiez le style du titre</a:t>
            </a:r>
          </a:p>
        </p:txBody>
      </p:sp>
    </p:spTree>
    <p:extLst>
      <p:ext uri="{BB962C8B-B14F-4D97-AF65-F5344CB8AC3E}">
        <p14:creationId xmlns:p14="http://schemas.microsoft.com/office/powerpoint/2010/main" val="2626214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a:xfrm>
            <a:off x="720000" y="1"/>
            <a:ext cx="10752000" cy="829737"/>
          </a:xfrm>
          <a:prstGeom prst="rect">
            <a:avLst/>
          </a:prstGeom>
        </p:spPr>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Septembre 2020</a:t>
            </a:r>
            <a:endParaRPr lang="fr-FR" dirty="0"/>
          </a:p>
        </p:txBody>
      </p:sp>
      <p:sp>
        <p:nvSpPr>
          <p:cNvPr id="15" name="Espace réservé du pied de page 14"/>
          <p:cNvSpPr>
            <a:spLocks noGrp="1"/>
          </p:cNvSpPr>
          <p:nvPr>
            <p:ph type="ftr" sz="quarter" idx="25"/>
          </p:nvPr>
        </p:nvSpPr>
        <p:spPr bwMode="gray"/>
        <p:txBody>
          <a:bodyPr/>
          <a:lstStyle/>
          <a:p>
            <a:pPr algn="l"/>
            <a:r>
              <a:rPr lang="fr-FR"/>
              <a:t>Dashboard Marché Aéronautique - Nov/Dec 2021</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6817312"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9205085"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6817312"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9205085"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39160822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48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a:xfrm>
            <a:off x="720000" y="1"/>
            <a:ext cx="10752000" cy="829737"/>
          </a:xfrm>
          <a:prstGeom prst="rect">
            <a:avLst/>
          </a:prstGeom>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3774194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a:prstGeom prst="rect">
            <a:avLst/>
          </a:prstGeo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7420499" y="494312"/>
            <a:ext cx="4084067" cy="1260000"/>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250888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504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a:xfrm>
            <a:off x="720000" y="1"/>
            <a:ext cx="10752000" cy="829737"/>
          </a:xfrm>
          <a:prstGeom prst="rect">
            <a:avLst/>
          </a:prstGeom>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747796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20000" y="2420888"/>
            <a:ext cx="48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6672000" y="2420888"/>
            <a:ext cx="48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Nov/Dec 2021</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720000" y="1242000"/>
            <a:ext cx="547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6480000" y="1242000"/>
            <a:ext cx="499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a:xfrm>
            <a:off x="720000" y="1"/>
            <a:ext cx="10752000" cy="829737"/>
          </a:xfrm>
          <a:prstGeom prst="rect">
            <a:avLst/>
          </a:prstGeom>
        </p:spPr>
        <p:txBody>
          <a:bodyPr/>
          <a:lstStyle/>
          <a:p>
            <a:r>
              <a:rPr lang="fr-FR"/>
              <a:t>Modifiez le style du titre</a:t>
            </a:r>
          </a:p>
        </p:txBody>
      </p:sp>
    </p:spTree>
    <p:extLst>
      <p:ext uri="{BB962C8B-B14F-4D97-AF65-F5344CB8AC3E}">
        <p14:creationId xmlns:p14="http://schemas.microsoft.com/office/powerpoint/2010/main" val="21788907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a:prstGeom prst="rect">
            <a:avLst/>
          </a:prstGeo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14138" y="5542604"/>
            <a:ext cx="2567124" cy="791998"/>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0243588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a:prstGeom prst="rect">
            <a:avLst/>
          </a:prstGeo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14138" y="5542604"/>
            <a:ext cx="2567124" cy="791998"/>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8367584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a:prstGeom prst="rect">
            <a:avLst/>
          </a:prstGeo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14138" y="5542603"/>
            <a:ext cx="2567124" cy="792000"/>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20508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a:prstGeom prst="rect">
            <a:avLst/>
          </a:prstGeo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14138" y="5542603"/>
            <a:ext cx="2567124" cy="792000"/>
          </a:xfrm>
          <a:prstGeom prst="rect">
            <a:avLst/>
          </a:prstGeom>
        </p:spPr>
      </p:pic>
      <p:sp>
        <p:nvSpPr>
          <p:cNvPr id="15"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9528881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4252448" y="2206800"/>
            <a:ext cx="4084067" cy="1260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7807586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4252448" y="2206800"/>
            <a:ext cx="4084067" cy="1260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720632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4252449" y="2206800"/>
            <a:ext cx="4084068" cy="1260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2595515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4252449" y="2206800"/>
            <a:ext cx="4084068" cy="1260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8862598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a:prstGeom prst="rect">
            <a:avLst/>
          </a:prstGeom>
        </p:spPr>
        <p:txBody>
          <a:bodyPr/>
          <a:lstStyle>
            <a:lvl1pPr>
              <a:lnSpc>
                <a:spcPct val="90000"/>
              </a:lnSpc>
              <a:defRPr sz="3000"/>
            </a:lvl1pPr>
          </a:lstStyle>
          <a:p>
            <a:r>
              <a:rPr lang="fr-FR"/>
              <a:t>Modifiez le style du titre</a:t>
            </a:r>
            <a:endParaRPr lang="fr-FR" dirty="0"/>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7420499" y="494312"/>
            <a:ext cx="4084068" cy="1260000"/>
          </a:xfrm>
          <a:prstGeom prst="rect">
            <a:avLst/>
          </a:prstGeom>
        </p:spPr>
      </p:pic>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4326109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Do not remove">
            <a:extLst>
              <a:ext uri="{FF2B5EF4-FFF2-40B4-BE49-F238E27FC236}">
                <a16:creationId xmlns:a16="http://schemas.microsoft.com/office/drawing/2014/main" id="{74A997BD-A04A-4B08-A4A8-F7A22440416E}"/>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itle 1"/>
          <p:cNvSpPr>
            <a:spLocks noGrp="1"/>
          </p:cNvSpPr>
          <p:nvPr>
            <p:ph type="title"/>
          </p:nvPr>
        </p:nvSpPr>
        <p:spPr>
          <a:xfrm>
            <a:off x="609600" y="274637"/>
            <a:ext cx="10972800" cy="706091"/>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91440" tIns="45720" rIns="91440" bIns="45720" anchor="ctr" anchorCtr="0">
            <a:normAutofit/>
          </a:bodyPr>
          <a:lstStyle>
            <a:lvl1pPr algn="l">
              <a:defRPr sz="3200" b="0" i="0" u="none" cap="none" baseline="0">
                <a:solidFill>
                  <a:srgbClr val="FF0000"/>
                </a:solidFill>
                <a:latin typeface="Calibri" panose="020F0502020204030204" pitchFamily="34" charset="0"/>
              </a:defRPr>
            </a:lvl1pPr>
          </a:lstStyle>
          <a:p>
            <a:r>
              <a:rPr lang="en-US" dirty="0"/>
              <a:t>Click to edit Master title style</a:t>
            </a:r>
            <a:endParaRPr lang="de-DE" dirty="0"/>
          </a:p>
        </p:txBody>
      </p:sp>
    </p:spTree>
    <p:extLst>
      <p:ext uri="{BB962C8B-B14F-4D97-AF65-F5344CB8AC3E}">
        <p14:creationId xmlns:p14="http://schemas.microsoft.com/office/powerpoint/2010/main" val="12179017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EF2AA1F-DED7-450C-9764-41F0A8555AC8}"/>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9C3AFB3B-8302-46D1-9911-E790A345F853}"/>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EA88D6C-E4E2-4BD5-9564-C4D52D5D5839}"/>
              </a:ext>
            </a:extLst>
          </p:cNvPr>
          <p:cNvSpPr>
            <a:spLocks noGrp="1"/>
          </p:cNvSpPr>
          <p:nvPr>
            <p:ph type="dt" sz="half" idx="10"/>
          </p:nvPr>
        </p:nvSpPr>
        <p:spPr/>
        <p:txBody>
          <a:bodyPr/>
          <a:lstStyle/>
          <a:p>
            <a:r>
              <a:rPr lang="fr-FR"/>
              <a:t>Septembre 2020</a:t>
            </a:r>
            <a:endParaRPr lang="fr-FR" dirty="0"/>
          </a:p>
        </p:txBody>
      </p:sp>
      <p:sp>
        <p:nvSpPr>
          <p:cNvPr id="5" name="Espace réservé du pied de page 4">
            <a:extLst>
              <a:ext uri="{FF2B5EF4-FFF2-40B4-BE49-F238E27FC236}">
                <a16:creationId xmlns:a16="http://schemas.microsoft.com/office/drawing/2014/main" id="{4B0B37DE-BC0E-4CC4-88AC-2E0085B9FC75}"/>
              </a:ext>
            </a:extLst>
          </p:cNvPr>
          <p:cNvSpPr>
            <a:spLocks noGrp="1"/>
          </p:cNvSpPr>
          <p:nvPr>
            <p:ph type="ftr" sz="quarter" idx="11"/>
          </p:nvPr>
        </p:nvSpPr>
        <p:spPr/>
        <p:txBody>
          <a:bodyPr/>
          <a:lstStyle/>
          <a:p>
            <a:pPr algn="l"/>
            <a:r>
              <a:rPr lang="fr-FR"/>
              <a:t>Dashboard Marché Aéronautique - Nov/Dec 2021</a:t>
            </a:r>
            <a:endParaRPr lang="fr-FR" dirty="0"/>
          </a:p>
        </p:txBody>
      </p:sp>
      <p:sp>
        <p:nvSpPr>
          <p:cNvPr id="6" name="Espace réservé du numéro de diapositive 5">
            <a:extLst>
              <a:ext uri="{FF2B5EF4-FFF2-40B4-BE49-F238E27FC236}">
                <a16:creationId xmlns:a16="http://schemas.microsoft.com/office/drawing/2014/main" id="{11A91DDF-0D72-49DC-888B-0989913A5B86}"/>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40619202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5" name="Imag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grpSp>
        <p:nvGrpSpPr>
          <p:cNvPr id="56" name="Groupe 55"/>
          <p:cNvGrpSpPr/>
          <p:nvPr/>
        </p:nvGrpSpPr>
        <p:grpSpPr>
          <a:xfrm>
            <a:off x="12484046" y="28361"/>
            <a:ext cx="5618997" cy="1943442"/>
            <a:chOff x="9363034" y="28361"/>
            <a:chExt cx="4214248" cy="1943442"/>
          </a:xfrm>
        </p:grpSpPr>
        <p:sp>
          <p:nvSpPr>
            <p:cNvPr id="57"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8"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9"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0"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1"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2"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3"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4"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5"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6"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7"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8"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9"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0"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1"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2"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3"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4"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5"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6"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7"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8"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9"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0"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1"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2"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3"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1"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2"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3"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4"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5"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6"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7"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8"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5360986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4" name="Image 1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pic>
        <p:nvPicPr>
          <p:cNvPr id="17" name="Imag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9589920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6"/>
            <a:ext cx="2644067" cy="899999"/>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8574745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6"/>
            <a:ext cx="2644067" cy="899999"/>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41620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1248000" y="126013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588355"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1248000"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588355"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1248000"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588355"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1248000"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588355"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1248000"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588355"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1248000"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6108963"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6768608"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6108963"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6768608"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6108963"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6768608"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6108963"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6768608"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6108963"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6768608"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6768608" y="544522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14749666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0623" y="6239979"/>
            <a:ext cx="1103997" cy="37578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643331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0623" y="6239979"/>
            <a:ext cx="1103997" cy="37578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0902242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12484046" y="28361"/>
            <a:ext cx="5618997"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29320530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5"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a:prstGeom prst="rect">
            <a:avLst/>
          </a:prstGeo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53" name="Picture 140">
            <a:extLst>
              <a:ext uri="{FF2B5EF4-FFF2-40B4-BE49-F238E27FC236}">
                <a16:creationId xmlns:a16="http://schemas.microsoft.com/office/drawing/2014/main" id="{89C50E65-71C2-4092-B817-9ADBA8AF5FB4}"/>
              </a:ext>
            </a:extLst>
          </p:cNvPr>
          <p:cNvPicPr>
            <a:picLocks noChangeAspect="1"/>
          </p:cNvPicPr>
          <p:nvPr userDrawn="1"/>
        </p:nvPicPr>
        <p:blipFill>
          <a:blip r:embed="rId3">
            <a:clrChange>
              <a:clrFrom>
                <a:srgbClr val="FFFFFF"/>
              </a:clrFrom>
              <a:clrTo>
                <a:srgbClr val="FFFFFF">
                  <a:alpha val="0"/>
                </a:srgbClr>
              </a:clrTo>
            </a:clrChange>
          </a:blip>
          <a:stretch>
            <a:fillRect/>
          </a:stretch>
        </p:blipFill>
        <p:spPr>
          <a:xfrm>
            <a:off x="7917585" y="455899"/>
            <a:ext cx="3485755" cy="1433884"/>
          </a:xfrm>
          <a:prstGeom prst="rect">
            <a:avLst/>
          </a:prstGeom>
        </p:spPr>
      </p:pic>
    </p:spTree>
    <p:extLst>
      <p:ext uri="{BB962C8B-B14F-4D97-AF65-F5344CB8AC3E}">
        <p14:creationId xmlns:p14="http://schemas.microsoft.com/office/powerpoint/2010/main" val="33016098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12484046" y="28361"/>
            <a:ext cx="5618997"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8208331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209347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2231599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73197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1048610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sp>
        <p:nvSpPr>
          <p:cNvPr id="9" name="Espace réservé du contenu 2"/>
          <p:cNvSpPr>
            <a:spLocks noGrp="1"/>
          </p:cNvSpPr>
          <p:nvPr>
            <p:ph idx="1" hasCustomPrompt="1"/>
          </p:nvPr>
        </p:nvSpPr>
        <p:spPr bwMode="gray">
          <a:xfrm>
            <a:off x="720000" y="1242000"/>
            <a:ext cx="1075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5855973" y="6057366"/>
            <a:ext cx="2688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Septembre 2020</a:t>
            </a:r>
            <a:endParaRPr lang="fr-FR" dirty="0"/>
          </a:p>
        </p:txBody>
      </p:sp>
      <p:sp>
        <p:nvSpPr>
          <p:cNvPr id="7" name="Espace réservé du pied de page 6"/>
          <p:cNvSpPr>
            <a:spLocks noGrp="1"/>
          </p:cNvSpPr>
          <p:nvPr>
            <p:ph type="ftr" sz="quarter" idx="15"/>
          </p:nvPr>
        </p:nvSpPr>
        <p:spPr>
          <a:xfrm>
            <a:off x="1149451" y="6192682"/>
            <a:ext cx="4560000" cy="440684"/>
          </a:xfrm>
          <a:prstGeom prst="rect">
            <a:avLst/>
          </a:prstGeom>
        </p:spPr>
        <p:txBody>
          <a:bodyPr/>
          <a:lstStyle/>
          <a:p>
            <a:pPr algn="l"/>
            <a:r>
              <a:rPr lang="fr-FR"/>
              <a:t>Dashboard Marché Aéronautique - Nov/Dec 2021</a:t>
            </a:r>
            <a:endParaRPr lang="fr-FR" dirty="0"/>
          </a:p>
        </p:txBody>
      </p:sp>
      <p:sp>
        <p:nvSpPr>
          <p:cNvPr id="11" name="Espace réservé du numéro de diapositive 10"/>
          <p:cNvSpPr>
            <a:spLocks noGrp="1"/>
          </p:cNvSpPr>
          <p:nvPr>
            <p:ph type="sldNum" sz="quarter" idx="16"/>
          </p:nvPr>
        </p:nvSpPr>
        <p:spPr>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2" name="Connecteur droit 11">
            <a:extLst>
              <a:ext uri="{FF2B5EF4-FFF2-40B4-BE49-F238E27FC236}">
                <a16:creationId xmlns:a16="http://schemas.microsoft.com/office/drawing/2014/main" id="{236E6DC2-9AA3-4865-86FB-F32D85B3DE54}"/>
              </a:ext>
            </a:extLst>
          </p:cNvPr>
          <p:cNvCxnSpPr/>
          <p:nvPr userDrawn="1"/>
        </p:nvCxnSpPr>
        <p:spPr bwMode="gray">
          <a:xfrm>
            <a:off x="720000" y="901528"/>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6551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Septembre 2020</a:t>
            </a:r>
            <a:endParaRPr lang="fr-FR" dirty="0"/>
          </a:p>
        </p:txBody>
      </p:sp>
      <p:sp>
        <p:nvSpPr>
          <p:cNvPr id="10" name="Espace réservé du pied de page 9"/>
          <p:cNvSpPr>
            <a:spLocks noGrp="1"/>
          </p:cNvSpPr>
          <p:nvPr>
            <p:ph type="ftr" sz="quarter" idx="15"/>
          </p:nvPr>
        </p:nvSpPr>
        <p:spPr bwMode="gray">
          <a:xfrm>
            <a:off x="1149451" y="6332026"/>
            <a:ext cx="4560000" cy="440684"/>
          </a:xfrm>
          <a:prstGeom prst="rect">
            <a:avLst/>
          </a:prstGeom>
        </p:spPr>
        <p:txBody>
          <a:bodyPr/>
          <a:lstStyle/>
          <a:p>
            <a:pPr algn="l"/>
            <a:r>
              <a:rPr lang="fr-FR"/>
              <a:t>Dashboard Marché Aéronautique - Nov/Dec 2021</a:t>
            </a:r>
            <a:endParaRPr lang="fr-FR" dirty="0"/>
          </a:p>
        </p:txBody>
      </p:sp>
      <p:sp>
        <p:nvSpPr>
          <p:cNvPr id="11" name="Espace réservé du numéro de diapositive 10"/>
          <p:cNvSpPr>
            <a:spLocks noGrp="1"/>
          </p:cNvSpPr>
          <p:nvPr>
            <p:ph type="sldNum" sz="quarter" idx="16"/>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3" name="Connecteur droit 12"/>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6480000" y="1242000"/>
            <a:ext cx="499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9553553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720000" y="1291282"/>
            <a:ext cx="5376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a:xfrm>
            <a:off x="1149451" y="6332026"/>
            <a:ext cx="4560000" cy="440684"/>
          </a:xfrm>
          <a:prstGeom prst="rect">
            <a:avLst/>
          </a:prstGeom>
        </p:spPr>
        <p:txBody>
          <a:bodyPr/>
          <a:lstStyle/>
          <a:p>
            <a:pPr algn="l"/>
            <a:r>
              <a:rPr lang="fr-FR"/>
              <a:t>Dashboard Marché Aéronautique - Nov/Dec 2021</a:t>
            </a:r>
            <a:endParaRPr lang="fr-FR" dirty="0"/>
          </a:p>
        </p:txBody>
      </p:sp>
      <p:sp>
        <p:nvSpPr>
          <p:cNvPr id="14" name="Espace réservé du numéro de diapositive 13"/>
          <p:cNvSpPr>
            <a:spLocks noGrp="1"/>
          </p:cNvSpPr>
          <p:nvPr>
            <p:ph type="sldNum" sz="quarter" idx="24"/>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6480000" y="1242882"/>
            <a:ext cx="4992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7115853"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9502619"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4547416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6499201" y="1306264"/>
            <a:ext cx="4973433"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Septembre 2020</a:t>
            </a:r>
            <a:endParaRPr lang="fr-FR" dirty="0"/>
          </a:p>
        </p:txBody>
      </p:sp>
      <p:sp>
        <p:nvSpPr>
          <p:cNvPr id="6" name="Espace réservé du pied de page 5"/>
          <p:cNvSpPr>
            <a:spLocks noGrp="1"/>
          </p:cNvSpPr>
          <p:nvPr>
            <p:ph type="ftr" sz="quarter" idx="20"/>
          </p:nvPr>
        </p:nvSpPr>
        <p:spPr bwMode="gray">
          <a:xfrm>
            <a:off x="1149451" y="6332026"/>
            <a:ext cx="4560000" cy="440684"/>
          </a:xfrm>
          <a:prstGeom prst="rect">
            <a:avLst/>
          </a:prstGeom>
        </p:spPr>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1"/>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487518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Septembre 2020</a:t>
            </a:r>
            <a:endParaRPr lang="fr-FR" dirty="0"/>
          </a:p>
        </p:txBody>
      </p:sp>
      <p:sp>
        <p:nvSpPr>
          <p:cNvPr id="15" name="Espace réservé du pied de page 14"/>
          <p:cNvSpPr>
            <a:spLocks noGrp="1"/>
          </p:cNvSpPr>
          <p:nvPr>
            <p:ph type="ftr" sz="quarter" idx="25"/>
          </p:nvPr>
        </p:nvSpPr>
        <p:spPr bwMode="gray">
          <a:xfrm>
            <a:off x="1149451" y="6332026"/>
            <a:ext cx="4560000" cy="440684"/>
          </a:xfrm>
          <a:prstGeom prst="rect">
            <a:avLst/>
          </a:prstGeom>
        </p:spPr>
        <p:txBody>
          <a:bodyPr/>
          <a:lstStyle/>
          <a:p>
            <a:pPr algn="l"/>
            <a:r>
              <a:rPr lang="fr-FR"/>
              <a:t>Dashboard Marché Aéronautique - Nov/Dec 2021</a:t>
            </a:r>
            <a:endParaRPr lang="fr-FR" dirty="0"/>
          </a:p>
        </p:txBody>
      </p:sp>
      <p:sp>
        <p:nvSpPr>
          <p:cNvPr id="18" name="Espace réservé du numéro de diapositive 17"/>
          <p:cNvSpPr>
            <a:spLocks noGrp="1"/>
          </p:cNvSpPr>
          <p:nvPr>
            <p:ph type="sldNum" sz="quarter" idx="26"/>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20" name="Connecteur droit 19"/>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6817312"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9205085"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6817312"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9205085"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425765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1248000" y="126013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a:xfrm>
            <a:off x="720000" y="1"/>
            <a:ext cx="10752000" cy="829737"/>
          </a:xfrm>
          <a:prstGeom prst="rect">
            <a:avLst/>
          </a:prstGeom>
        </p:spPr>
        <p:txBody>
          <a:bodyPr/>
          <a:lstStyle/>
          <a:p>
            <a:r>
              <a:rPr lang="fr-FR"/>
              <a:t>Modifiez le style du titre</a:t>
            </a:r>
          </a:p>
        </p:txBody>
      </p:sp>
      <p:cxnSp>
        <p:nvCxnSpPr>
          <p:cNvPr id="29" name="Connecteur droit 28"/>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588355"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1248000"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588355"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1248000"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588355"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1248000"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588355"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1248000"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588355"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1248000"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6108963"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6768608"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6108963"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6768608"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6108963"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6768608"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6108963"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6768608"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6108963"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6768608"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6768608" y="544522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31846723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48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a:xfrm>
            <a:off x="1149451" y="6332026"/>
            <a:ext cx="4560000" cy="440684"/>
          </a:xfrm>
          <a:prstGeom prst="rect">
            <a:avLst/>
          </a:prstGeom>
        </p:spPr>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2"/>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7687106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504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a:xfrm>
            <a:off x="1149451" y="6332026"/>
            <a:ext cx="4560000" cy="440684"/>
          </a:xfrm>
          <a:prstGeom prst="rect">
            <a:avLst/>
          </a:prstGeom>
        </p:spPr>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2"/>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4146111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20000" y="2420888"/>
            <a:ext cx="48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6672000" y="2420888"/>
            <a:ext cx="48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a:xfrm>
            <a:off x="1149451" y="6332026"/>
            <a:ext cx="4560000" cy="440684"/>
          </a:xfrm>
          <a:prstGeom prst="rect">
            <a:avLst/>
          </a:prstGeom>
        </p:spPr>
        <p:txBody>
          <a:bodyPr/>
          <a:lstStyle/>
          <a:p>
            <a:pPr algn="l"/>
            <a:r>
              <a:rPr lang="fr-FR"/>
              <a:t>Dashboard Marché Aéronautique - Nov/Dec 2021</a:t>
            </a:r>
            <a:endParaRPr lang="fr-FR" dirty="0"/>
          </a:p>
        </p:txBody>
      </p:sp>
      <p:sp>
        <p:nvSpPr>
          <p:cNvPr id="16" name="Espace réservé du numéro de diapositive 15"/>
          <p:cNvSpPr>
            <a:spLocks noGrp="1"/>
          </p:cNvSpPr>
          <p:nvPr>
            <p:ph type="sldNum" sz="quarter" idx="24"/>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8" name="Connecteur droit 17"/>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720000" y="1242000"/>
            <a:ext cx="547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6480000" y="1242000"/>
            <a:ext cx="499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8056776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9397003" y="5968402"/>
            <a:ext cx="2100379" cy="648000"/>
          </a:xfrm>
          <a:prstGeom prst="rect">
            <a:avLst/>
          </a:prstGeom>
        </p:spPr>
      </p:pic>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60452" y="5981782"/>
            <a:ext cx="1903728" cy="64800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1223238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3" y="5968402"/>
            <a:ext cx="2100379" cy="648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0452" y="5981782"/>
            <a:ext cx="1903728" cy="64800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913777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4" y="5968402"/>
            <a:ext cx="2100377" cy="648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0452" y="5981783"/>
            <a:ext cx="1903728" cy="647999"/>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660353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4" y="5968402"/>
            <a:ext cx="2100377" cy="648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0452" y="5981783"/>
            <a:ext cx="1903728" cy="647999"/>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5343429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3" name="Imag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3966" y="2559571"/>
            <a:ext cx="2644069" cy="900000"/>
          </a:xfrm>
          <a:prstGeom prst="rect">
            <a:avLst/>
          </a:prstGeom>
        </p:spPr>
      </p:pic>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7985395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3966" y="2559571"/>
            <a:ext cx="2644069" cy="90000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156184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3967" y="2559571"/>
            <a:ext cx="2644067" cy="90000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2702238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999457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3967" y="2559571"/>
            <a:ext cx="2644067" cy="900000"/>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6210211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16483" y="1251807"/>
            <a:ext cx="2640000" cy="731871"/>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704282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4" name="Image 1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16483" y="1251807"/>
            <a:ext cx="2640000" cy="731871"/>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0068400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28001" y="1035062"/>
            <a:ext cx="2125548" cy="88177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299267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7" name="Imag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28001" y="1035062"/>
            <a:ext cx="2125548" cy="88177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143473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1248000" y="126013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588355"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1248000"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588355"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1248000"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588355"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1248000"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588355"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1248000"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588355"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1248000"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6108963"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6768608"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6108963"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6768608"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6108963"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6768608"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6108963"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6768608"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6108963"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6768608"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6768608" y="544522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42614201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95664" y="6317296"/>
            <a:ext cx="1625227" cy="450551"/>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808690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95664" y="6317296"/>
            <a:ext cx="1625227" cy="450551"/>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7611885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12484046" y="28361"/>
            <a:ext cx="5618997"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2043545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12484046" y="28361"/>
            <a:ext cx="5618997"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8247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895511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8596800" y="6318000"/>
            <a:ext cx="1627200" cy="4500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9897287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8596800" y="6318000"/>
            <a:ext cx="1627200" cy="4500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417355530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8596800" y="6318000"/>
            <a:ext cx="1627200" cy="4500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7092819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8596800" y="6318000"/>
            <a:ext cx="1627200" cy="4500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7146413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720000" y="972102"/>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720000" y="1242000"/>
            <a:ext cx="1075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5855973" y="6057366"/>
            <a:ext cx="2688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Septembre 2020</a:t>
            </a:r>
            <a:endParaRPr lang="fr-FR" dirty="0"/>
          </a:p>
        </p:txBody>
      </p:sp>
      <p:sp>
        <p:nvSpPr>
          <p:cNvPr id="7" name="Espace réservé du pied de page 6"/>
          <p:cNvSpPr>
            <a:spLocks noGrp="1"/>
          </p:cNvSpPr>
          <p:nvPr>
            <p:ph type="ftr" sz="quarter" idx="15"/>
          </p:nvPr>
        </p:nvSpPr>
        <p:spPr>
          <a:xfrm>
            <a:off x="1149451" y="6192682"/>
            <a:ext cx="4560000" cy="440684"/>
          </a:xfrm>
        </p:spPr>
        <p:txBody>
          <a:bodyPr/>
          <a:lstStyle/>
          <a:p>
            <a:pPr algn="l"/>
            <a:r>
              <a:rPr lang="fr-FR"/>
              <a:t>Dashboard Marché Aéronautique - Nov/Dec 2021</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2653594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Septembre 2020</a:t>
            </a:r>
            <a:endParaRPr lang="fr-FR" dirty="0"/>
          </a:p>
        </p:txBody>
      </p:sp>
      <p:sp>
        <p:nvSpPr>
          <p:cNvPr id="10" name="Espace réservé du pied de page 9"/>
          <p:cNvSpPr>
            <a:spLocks noGrp="1"/>
          </p:cNvSpPr>
          <p:nvPr>
            <p:ph type="ftr" sz="quarter" idx="15"/>
          </p:nvPr>
        </p:nvSpPr>
        <p:spPr bwMode="gray"/>
        <p:txBody>
          <a:bodyPr/>
          <a:lstStyle/>
          <a:p>
            <a:pPr algn="l"/>
            <a:r>
              <a:rPr lang="fr-FR"/>
              <a:t>Dashboard Marché Aéronautique - Nov/Dec 2021</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6480000" y="1242000"/>
            <a:ext cx="499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2192816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720000" y="1291282"/>
            <a:ext cx="5376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Nov/Dec 2021</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6480000" y="1242882"/>
            <a:ext cx="4992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7115853"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9502619"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20050561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6499201" y="1306264"/>
            <a:ext cx="4973433"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Septembre 2020</a:t>
            </a:r>
            <a:endParaRPr lang="fr-FR" dirty="0"/>
          </a:p>
        </p:txBody>
      </p:sp>
      <p:sp>
        <p:nvSpPr>
          <p:cNvPr id="6" name="Espace réservé du pied de page 5"/>
          <p:cNvSpPr>
            <a:spLocks noGrp="1"/>
          </p:cNvSpPr>
          <p:nvPr>
            <p:ph type="ftr" sz="quarter" idx="20"/>
          </p:nvPr>
        </p:nvSpPr>
        <p:spPr bwMode="gray"/>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6783553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Septembre 2020</a:t>
            </a:r>
            <a:endParaRPr lang="fr-FR" dirty="0"/>
          </a:p>
        </p:txBody>
      </p:sp>
      <p:sp>
        <p:nvSpPr>
          <p:cNvPr id="15" name="Espace réservé du pied de page 14"/>
          <p:cNvSpPr>
            <a:spLocks noGrp="1"/>
          </p:cNvSpPr>
          <p:nvPr>
            <p:ph type="ftr" sz="quarter" idx="25"/>
          </p:nvPr>
        </p:nvSpPr>
        <p:spPr bwMode="gray"/>
        <p:txBody>
          <a:bodyPr/>
          <a:lstStyle/>
          <a:p>
            <a:pPr algn="l"/>
            <a:r>
              <a:rPr lang="fr-FR"/>
              <a:t>Dashboard Marché Aéronautique - Nov/Dec 2021</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6817312"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9205085"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6817312"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9205085"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13447290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48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1872776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0170676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504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Nov/Dec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3843414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20000" y="2420888"/>
            <a:ext cx="48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6672000" y="2420888"/>
            <a:ext cx="48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Nov/Dec 2021</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720000" y="1242000"/>
            <a:ext cx="547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6480000" y="1242000"/>
            <a:ext cx="499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4344833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9768964" y="5803168"/>
            <a:ext cx="1726977" cy="532800"/>
          </a:xfrm>
          <a:prstGeom prst="rect">
            <a:avLst/>
          </a:prstGeom>
        </p:spPr>
      </p:pic>
      <p:pic>
        <p:nvPicPr>
          <p:cNvPr id="10" name="Imag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52116" y="5920765"/>
            <a:ext cx="2259555" cy="626400"/>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742216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7" name="Image 1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768964" y="5803168"/>
            <a:ext cx="1726977" cy="532800"/>
          </a:xfrm>
          <a:prstGeom prst="rect">
            <a:avLst/>
          </a:prstGeom>
        </p:spPr>
      </p:pic>
      <p:pic>
        <p:nvPicPr>
          <p:cNvPr id="12" name="Imag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52116" y="5920765"/>
            <a:ext cx="2259555" cy="62640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0038429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7" name="Image 1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768963" y="5803168"/>
            <a:ext cx="1726976" cy="532800"/>
          </a:xfrm>
          <a:prstGeom prst="rect">
            <a:avLst/>
          </a:prstGeom>
        </p:spPr>
      </p:pic>
      <p:pic>
        <p:nvPicPr>
          <p:cNvPr id="12" name="Imag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8129" y="5803168"/>
            <a:ext cx="2125548" cy="88177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2478876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7" name="Image 1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768963" y="5803168"/>
            <a:ext cx="1726976" cy="5328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8129" y="5803168"/>
            <a:ext cx="2125548" cy="88177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800899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0" name="Imag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6000" y="2958685"/>
            <a:ext cx="2640000" cy="731869"/>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689796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6000" y="2958685"/>
            <a:ext cx="2640000" cy="731869"/>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058974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pic>
        <p:nvPicPr>
          <p:cNvPr id="10" name="Imag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7581" y="2293640"/>
            <a:ext cx="2736839" cy="113536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07957572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2" name="Imag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7581" y="2293640"/>
            <a:ext cx="2736839" cy="113536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8157160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064476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7" name="Imag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50343" y="2106944"/>
            <a:ext cx="2640000" cy="731871"/>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7471603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4" name="Image 1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50343" y="2106944"/>
            <a:ext cx="2640000" cy="731871"/>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481016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7" name="Imag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980729"/>
            <a:ext cx="2644067" cy="899999"/>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01683" y="1958275"/>
            <a:ext cx="2125548" cy="881770"/>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9912543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7"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8" name="Imag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980729"/>
            <a:ext cx="2644067" cy="899999"/>
          </a:xfrm>
          <a:prstGeom prst="rect">
            <a:avLst/>
          </a:prstGeom>
        </p:spPr>
      </p:pic>
      <p:pic>
        <p:nvPicPr>
          <p:cNvPr id="19" name="Imag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01683" y="1958275"/>
            <a:ext cx="2125548" cy="881770"/>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68632642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1248000" y="126013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588355"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1248000"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588355"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1248000"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588355"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1248000"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588355"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1248000"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588355"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1248000"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6108963"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6768608"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6108963"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6768608"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6108963"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6768608"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6108963"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6768608"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6108963"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6768608"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6768608" y="544522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26581978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0623" y="6239979"/>
            <a:ext cx="1103997" cy="37578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6137934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0623" y="6239979"/>
            <a:ext cx="1103997" cy="37578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2768585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12484046" y="28361"/>
            <a:ext cx="5618997"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2548039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12484046" y="28361"/>
            <a:ext cx="5618997"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7140059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1940027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2.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oleObject" Target="../embeddings/oleObject3.bin"/><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theme" Target="../theme/theme2.xml"/><Relationship Id="rId35"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image" Target="../media/image10.png"/><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image" Target="../media/image1.emf"/><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oleObject" Target="../embeddings/oleObject4.bin"/><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image" Target="../media/image3.png"/><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tags" Target="../tags/tag7.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theme" Target="../theme/theme3.xml"/><Relationship Id="rId35" Type="http://schemas.openxmlformats.org/officeDocument/2006/relationships/image" Target="../media/image11.jp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34" Type="http://schemas.openxmlformats.org/officeDocument/2006/relationships/image" Target="../media/image10.png"/><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image" Target="../media/image1.emf"/><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oleObject" Target="../embeddings/oleObject5.bin"/><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tags" Target="../tags/tag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theme" Target="../theme/theme4.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28C96408-AA1F-4A71-B776-9DB8FF88FF19}"/>
              </a:ext>
            </a:extLst>
          </p:cNvPr>
          <p:cNvGraphicFramePr>
            <a:graphicFrameLocks noChangeAspect="1"/>
          </p:cNvGraphicFramePr>
          <p:nvPr userDrawn="1">
            <p:custDataLst>
              <p:tags r:id="rId33"/>
            </p:custDataLst>
            <p:extLst>
              <p:ext uri="{D42A27DB-BD31-4B8C-83A1-F6EECF244321}">
                <p14:modId xmlns:p14="http://schemas.microsoft.com/office/powerpoint/2010/main" val="2605504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4" imgW="344" imgH="344" progId="TCLayout.ActiveDocument.1">
                  <p:embed/>
                </p:oleObj>
              </mc:Choice>
              <mc:Fallback>
                <p:oleObj name="Diapositive think-cell" r:id="rId34" imgW="344" imgH="344" progId="TCLayout.ActiveDocument.1">
                  <p:embed/>
                  <p:pic>
                    <p:nvPicPr>
                      <p:cNvPr id="7" name="Objet 6" hidden="1">
                        <a:extLst>
                          <a:ext uri="{FF2B5EF4-FFF2-40B4-BE49-F238E27FC236}">
                            <a16:creationId xmlns:a16="http://schemas.microsoft.com/office/drawing/2014/main" id="{28C96408-AA1F-4A71-B776-9DB8FF88FF19}"/>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720000" y="1"/>
            <a:ext cx="10752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720000" y="1242000"/>
            <a:ext cx="10752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24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Septembre 2020</a:t>
            </a:r>
            <a:endParaRPr lang="fr-FR" dirty="0"/>
          </a:p>
        </p:txBody>
      </p:sp>
      <p:sp>
        <p:nvSpPr>
          <p:cNvPr id="5" name="Espace réservé du pied de page 4"/>
          <p:cNvSpPr>
            <a:spLocks noGrp="1"/>
          </p:cNvSpPr>
          <p:nvPr>
            <p:ph type="ftr" sz="quarter" idx="3"/>
          </p:nvPr>
        </p:nvSpPr>
        <p:spPr bwMode="gray">
          <a:xfrm>
            <a:off x="1149451" y="6347411"/>
            <a:ext cx="456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4"/>
          </p:nvPr>
        </p:nvSpPr>
        <p:spPr bwMode="gray">
          <a:xfrm>
            <a:off x="719401" y="6347411"/>
            <a:ext cx="384044"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53" name="Picture 140">
            <a:extLst>
              <a:ext uri="{FF2B5EF4-FFF2-40B4-BE49-F238E27FC236}">
                <a16:creationId xmlns:a16="http://schemas.microsoft.com/office/drawing/2014/main" id="{61D7638A-5653-41B7-AD32-384DA589B451}"/>
              </a:ext>
            </a:extLst>
          </p:cNvPr>
          <p:cNvPicPr>
            <a:picLocks noChangeAspect="1"/>
          </p:cNvPicPr>
          <p:nvPr userDrawn="1"/>
        </p:nvPicPr>
        <p:blipFill>
          <a:blip r:embed="rId36">
            <a:clrChange>
              <a:clrFrom>
                <a:srgbClr val="FFFFFF"/>
              </a:clrFrom>
              <a:clrTo>
                <a:srgbClr val="FFFFFF">
                  <a:alpha val="0"/>
                </a:srgbClr>
              </a:clrTo>
            </a:clrChange>
          </a:blip>
          <a:stretch>
            <a:fillRect/>
          </a:stretch>
        </p:blipFill>
        <p:spPr>
          <a:xfrm>
            <a:off x="10955383" y="6495075"/>
            <a:ext cx="681880" cy="280495"/>
          </a:xfrm>
          <a:prstGeom prst="rect">
            <a:avLst/>
          </a:prstGeom>
        </p:spPr>
      </p:pic>
    </p:spTree>
  </p:cSld>
  <p:clrMap bg1="lt1" tx1="dk1" bg2="lt2" tx2="dk2" accent1="accent1" accent2="accent2" accent3="accent3" accent4="accent4" accent5="accent5" accent6="accent6" hlink="hlink" folHlink="folHlink"/>
  <p:sldLayoutIdLst>
    <p:sldLayoutId id="2147483837" r:id="rId1"/>
    <p:sldLayoutId id="2147483838" r:id="rId2"/>
    <p:sldLayoutId id="2147483808" r:id="rId3"/>
    <p:sldLayoutId id="2147483852" r:id="rId4"/>
    <p:sldLayoutId id="2147483825" r:id="rId5"/>
    <p:sldLayoutId id="2147483840" r:id="rId6"/>
    <p:sldLayoutId id="2147483841" r:id="rId7"/>
    <p:sldLayoutId id="2147483839" r:id="rId8"/>
    <p:sldLayoutId id="2147483853" r:id="rId9"/>
    <p:sldLayoutId id="2147483849" r:id="rId10"/>
    <p:sldLayoutId id="2147483820" r:id="rId11"/>
    <p:sldLayoutId id="2147483850" r:id="rId12"/>
    <p:sldLayoutId id="2147483851" r:id="rId13"/>
    <p:sldLayoutId id="2147483826" r:id="rId14"/>
    <p:sldLayoutId id="2147483827" r:id="rId15"/>
    <p:sldLayoutId id="2147483828" r:id="rId16"/>
    <p:sldLayoutId id="2147483829" r:id="rId17"/>
    <p:sldLayoutId id="2147483830" r:id="rId18"/>
    <p:sldLayoutId id="2147483833" r:id="rId19"/>
    <p:sldLayoutId id="2147483842" r:id="rId20"/>
    <p:sldLayoutId id="2147483832" r:id="rId21"/>
    <p:sldLayoutId id="2147483843" r:id="rId22"/>
    <p:sldLayoutId id="2147483822" r:id="rId23"/>
    <p:sldLayoutId id="2147483821" r:id="rId24"/>
    <p:sldLayoutId id="2147483854" r:id="rId25"/>
    <p:sldLayoutId id="2147483846" r:id="rId26"/>
    <p:sldLayoutId id="2147483824" r:id="rId27"/>
    <p:sldLayoutId id="2147483823" r:id="rId28"/>
    <p:sldLayoutId id="2147483855" r:id="rId29"/>
    <p:sldLayoutId id="2147483949" r:id="rId30"/>
    <p:sldLayoutId id="2147483950" r:id="rId31"/>
  </p:sldLayoutIdLst>
  <p:hf hdr="0" dt="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7"/>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6BFA135A-9966-4F2A-92AF-9F8F667FDB58}"/>
              </a:ext>
            </a:extLst>
          </p:cNvPr>
          <p:cNvGraphicFramePr>
            <a:graphicFrameLocks noChangeAspect="1"/>
          </p:cNvGraphicFramePr>
          <p:nvPr userDrawn="1">
            <p:custDataLst>
              <p:tags r:id="rId31"/>
            </p:custDataLst>
            <p:extLst>
              <p:ext uri="{D42A27DB-BD31-4B8C-83A1-F6EECF244321}">
                <p14:modId xmlns:p14="http://schemas.microsoft.com/office/powerpoint/2010/main" val="28857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2" imgW="344" imgH="344" progId="TCLayout.ActiveDocument.1">
                  <p:embed/>
                </p:oleObj>
              </mc:Choice>
              <mc:Fallback>
                <p:oleObj name="Diapositive think-cell" r:id="rId32" imgW="344" imgH="344" progId="TCLayout.ActiveDocument.1">
                  <p:embed/>
                  <p:pic>
                    <p:nvPicPr>
                      <p:cNvPr id="8" name="Objet 7" hidden="1">
                        <a:extLst>
                          <a:ext uri="{FF2B5EF4-FFF2-40B4-BE49-F238E27FC236}">
                            <a16:creationId xmlns:a16="http://schemas.microsoft.com/office/drawing/2014/main" id="{6BFA135A-9966-4F2A-92AF-9F8F667FDB58}"/>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720000" y="1"/>
            <a:ext cx="10752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720000" y="1242000"/>
            <a:ext cx="10752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24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Septembre 2020</a:t>
            </a:r>
            <a:endParaRPr lang="fr-FR" dirty="0"/>
          </a:p>
        </p:txBody>
      </p:sp>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98" name="Picture 140">
            <a:extLst>
              <a:ext uri="{FF2B5EF4-FFF2-40B4-BE49-F238E27FC236}">
                <a16:creationId xmlns:a16="http://schemas.microsoft.com/office/drawing/2014/main" id="{F8D7C6C5-DAB5-4A3D-A939-183A709FA721}"/>
              </a:ext>
            </a:extLst>
          </p:cNvPr>
          <p:cNvPicPr>
            <a:picLocks noChangeAspect="1"/>
          </p:cNvPicPr>
          <p:nvPr userDrawn="1"/>
        </p:nvPicPr>
        <p:blipFill>
          <a:blip r:embed="rId34">
            <a:clrChange>
              <a:clrFrom>
                <a:srgbClr val="FFFFFF"/>
              </a:clrFrom>
              <a:clrTo>
                <a:srgbClr val="FFFFFF">
                  <a:alpha val="0"/>
                </a:srgbClr>
              </a:clrTo>
            </a:clrChange>
          </a:blip>
          <a:stretch>
            <a:fillRect/>
          </a:stretch>
        </p:blipFill>
        <p:spPr>
          <a:xfrm>
            <a:off x="10955383" y="6495075"/>
            <a:ext cx="681880" cy="280495"/>
          </a:xfrm>
          <a:prstGeom prst="rect">
            <a:avLst/>
          </a:prstGeom>
        </p:spPr>
      </p:pic>
      <p:sp>
        <p:nvSpPr>
          <p:cNvPr id="99" name="Espace réservé du pied de page 4">
            <a:extLst>
              <a:ext uri="{FF2B5EF4-FFF2-40B4-BE49-F238E27FC236}">
                <a16:creationId xmlns:a16="http://schemas.microsoft.com/office/drawing/2014/main" id="{851EAC84-394F-4225-9173-4CC68E7DFB93}"/>
              </a:ext>
            </a:extLst>
          </p:cNvPr>
          <p:cNvSpPr>
            <a:spLocks noGrp="1"/>
          </p:cNvSpPr>
          <p:nvPr>
            <p:ph type="ftr" sz="quarter" idx="3"/>
          </p:nvPr>
        </p:nvSpPr>
        <p:spPr bwMode="gray">
          <a:xfrm>
            <a:off x="1149451" y="6347411"/>
            <a:ext cx="456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Dashboard Marché Aéronautique - Nov/Dec 2021</a:t>
            </a:r>
            <a:endParaRPr lang="fr-FR" dirty="0"/>
          </a:p>
        </p:txBody>
      </p:sp>
      <p:sp>
        <p:nvSpPr>
          <p:cNvPr id="100" name="Espace réservé du numéro de diapositive 5">
            <a:extLst>
              <a:ext uri="{FF2B5EF4-FFF2-40B4-BE49-F238E27FC236}">
                <a16:creationId xmlns:a16="http://schemas.microsoft.com/office/drawing/2014/main" id="{3E69FC1C-1654-435F-969A-639AE88745C7}"/>
              </a:ext>
            </a:extLst>
          </p:cNvPr>
          <p:cNvSpPr>
            <a:spLocks noGrp="1"/>
          </p:cNvSpPr>
          <p:nvPr>
            <p:ph type="sldNum" sz="quarter" idx="4"/>
          </p:nvPr>
        </p:nvSpPr>
        <p:spPr bwMode="gray">
          <a:xfrm>
            <a:off x="719401" y="6347411"/>
            <a:ext cx="384044"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050052532"/>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Lst>
  <p:hf hdr="0" dt="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5"/>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F6D765A3-AC8B-4DB5-A9F1-B6BDBCEA757F}"/>
              </a:ext>
            </a:extLst>
          </p:cNvPr>
          <p:cNvGraphicFramePr>
            <a:graphicFrameLocks noChangeAspect="1"/>
          </p:cNvGraphicFramePr>
          <p:nvPr userDrawn="1">
            <p:custDataLst>
              <p:tags r:id="rId31"/>
            </p:custDataLst>
            <p:extLst>
              <p:ext uri="{D42A27DB-BD31-4B8C-83A1-F6EECF244321}">
                <p14:modId xmlns:p14="http://schemas.microsoft.com/office/powerpoint/2010/main" val="224239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2" imgW="344" imgH="344" progId="TCLayout.ActiveDocument.1">
                  <p:embed/>
                </p:oleObj>
              </mc:Choice>
              <mc:Fallback>
                <p:oleObj name="Diapositive think-cell" r:id="rId32" imgW="344" imgH="344" progId="TCLayout.ActiveDocument.1">
                  <p:embed/>
                  <p:pic>
                    <p:nvPicPr>
                      <p:cNvPr id="7" name="Objet 6" hidden="1">
                        <a:extLst>
                          <a:ext uri="{FF2B5EF4-FFF2-40B4-BE49-F238E27FC236}">
                            <a16:creationId xmlns:a16="http://schemas.microsoft.com/office/drawing/2014/main" id="{F6D765A3-AC8B-4DB5-A9F1-B6BDBCEA757F}"/>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720000" y="1"/>
            <a:ext cx="10752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720000" y="1242000"/>
            <a:ext cx="10752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24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Septembre 2020</a:t>
            </a:r>
            <a:endParaRPr lang="fr-FR" dirty="0"/>
          </a:p>
        </p:txBody>
      </p:sp>
      <p:sp>
        <p:nvSpPr>
          <p:cNvPr id="5" name="Espace réservé du pied de page 4"/>
          <p:cNvSpPr>
            <a:spLocks noGrp="1"/>
          </p:cNvSpPr>
          <p:nvPr>
            <p:ph type="ftr" sz="quarter" idx="3"/>
          </p:nvPr>
        </p:nvSpPr>
        <p:spPr bwMode="gray">
          <a:xfrm>
            <a:off x="1149451" y="6192682"/>
            <a:ext cx="456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4"/>
          </p:nvPr>
        </p:nvSpPr>
        <p:spPr bwMode="gray">
          <a:xfrm>
            <a:off x="719401" y="6192682"/>
            <a:ext cx="384044"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4">
            <a:extLst>
              <a:ext uri="{28A0092B-C50C-407E-A947-70E740481C1C}">
                <a14:useLocalDpi xmlns:a14="http://schemas.microsoft.com/office/drawing/2010/main" val="0"/>
              </a:ext>
            </a:extLst>
          </a:blip>
          <a:stretch>
            <a:fillRect/>
          </a:stretch>
        </p:blipFill>
        <p:spPr bwMode="gray">
          <a:xfrm>
            <a:off x="10320469" y="6201308"/>
            <a:ext cx="1342648" cy="432000"/>
          </a:xfrm>
          <a:prstGeom prst="rect">
            <a:avLst/>
          </a:prstGeom>
        </p:spPr>
      </p:pic>
      <p:pic>
        <p:nvPicPr>
          <p:cNvPr id="11" name="Image 10"/>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9017512" y="6286578"/>
            <a:ext cx="1206033" cy="500314"/>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261836987"/>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Lst>
  <p:hf hdr="0" dt="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9F9404E-96A7-41EB-B5EE-8090723F883B}"/>
              </a:ext>
            </a:extLst>
          </p:cNvPr>
          <p:cNvGraphicFramePr>
            <a:graphicFrameLocks noChangeAspect="1"/>
          </p:cNvGraphicFramePr>
          <p:nvPr userDrawn="1">
            <p:custDataLst>
              <p:tags r:id="rId31"/>
            </p:custDataLst>
            <p:extLst>
              <p:ext uri="{D42A27DB-BD31-4B8C-83A1-F6EECF244321}">
                <p14:modId xmlns:p14="http://schemas.microsoft.com/office/powerpoint/2010/main" val="173884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2" imgW="344" imgH="344" progId="TCLayout.ActiveDocument.1">
                  <p:embed/>
                </p:oleObj>
              </mc:Choice>
              <mc:Fallback>
                <p:oleObj name="Diapositive think-cell" r:id="rId32" imgW="344" imgH="344" progId="TCLayout.ActiveDocument.1">
                  <p:embed/>
                  <p:pic>
                    <p:nvPicPr>
                      <p:cNvPr id="7" name="Objet 6" hidden="1">
                        <a:extLst>
                          <a:ext uri="{FF2B5EF4-FFF2-40B4-BE49-F238E27FC236}">
                            <a16:creationId xmlns:a16="http://schemas.microsoft.com/office/drawing/2014/main" id="{59F9404E-96A7-41EB-B5EE-8090723F883B}"/>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720000" y="1"/>
            <a:ext cx="10752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720000" y="1242000"/>
            <a:ext cx="10752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24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Septembre 2020</a:t>
            </a:r>
            <a:endParaRPr lang="fr-FR" dirty="0"/>
          </a:p>
        </p:txBody>
      </p:sp>
      <p:sp>
        <p:nvSpPr>
          <p:cNvPr id="5" name="Espace réservé du pied de page 4"/>
          <p:cNvSpPr>
            <a:spLocks noGrp="1"/>
          </p:cNvSpPr>
          <p:nvPr>
            <p:ph type="ftr" sz="quarter" idx="3"/>
          </p:nvPr>
        </p:nvSpPr>
        <p:spPr bwMode="gray">
          <a:xfrm>
            <a:off x="1149451" y="6192682"/>
            <a:ext cx="456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Dashboard Marché Aéronautique - Nov/Dec 2021</a:t>
            </a:r>
            <a:endParaRPr lang="fr-FR" dirty="0"/>
          </a:p>
        </p:txBody>
      </p:sp>
      <p:sp>
        <p:nvSpPr>
          <p:cNvPr id="6" name="Espace réservé du numéro de diapositive 5"/>
          <p:cNvSpPr>
            <a:spLocks noGrp="1"/>
          </p:cNvSpPr>
          <p:nvPr>
            <p:ph type="sldNum" sz="quarter" idx="4"/>
          </p:nvPr>
        </p:nvSpPr>
        <p:spPr bwMode="gray">
          <a:xfrm>
            <a:off x="719401" y="6192682"/>
            <a:ext cx="384044"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4">
            <a:extLst>
              <a:ext uri="{28A0092B-C50C-407E-A947-70E740481C1C}">
                <a14:useLocalDpi xmlns:a14="http://schemas.microsoft.com/office/drawing/2010/main" val="0"/>
              </a:ext>
            </a:extLst>
          </a:blip>
          <a:stretch>
            <a:fillRect/>
          </a:stretch>
        </p:blipFill>
        <p:spPr bwMode="gray">
          <a:xfrm>
            <a:off x="10320469" y="6201308"/>
            <a:ext cx="1342648" cy="432000"/>
          </a:xfrm>
          <a:prstGeom prst="rect">
            <a:avLst/>
          </a:prstGeom>
        </p:spPr>
      </p:pic>
      <p:grpSp>
        <p:nvGrpSpPr>
          <p:cNvPr id="52" name="Groupe 51"/>
          <p:cNvGrpSpPr/>
          <p:nvPr/>
        </p:nvGrpSpPr>
        <p:grpSpPr>
          <a:xfrm>
            <a:off x="12484046" y="28361"/>
            <a:ext cx="5618997" cy="1943442"/>
            <a:chOff x="9363034" y="28361"/>
            <a:chExt cx="4214248" cy="1943442"/>
          </a:xfrm>
        </p:grpSpPr>
        <p:sp>
          <p:nvSpPr>
            <p:cNvPr id="5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5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6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7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8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3"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4"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44036514"/>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Lst>
  <p:hf hdr="0" dt="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5"/>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slideLayout" Target="../slideLayouts/slideLayout14.xml"/><Relationship Id="rId7" Type="http://schemas.openxmlformats.org/officeDocument/2006/relationships/package" Target="../embeddings/Microsoft_Excel_Worksheet8.xlsx"/><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png"/><Relationship Id="rId3" Type="http://schemas.openxmlformats.org/officeDocument/2006/relationships/slideLayout" Target="../slideLayouts/slideLayout14.xml"/><Relationship Id="rId7" Type="http://schemas.openxmlformats.org/officeDocument/2006/relationships/image" Target="../media/image16.png"/><Relationship Id="rId12" Type="http://schemas.openxmlformats.org/officeDocument/2006/relationships/image" Target="../media/image20.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chart" Target="../charts/chart1.xml"/><Relationship Id="rId11" Type="http://schemas.openxmlformats.org/officeDocument/2006/relationships/image" Target="../media/image19.png"/><Relationship Id="rId5" Type="http://schemas.openxmlformats.org/officeDocument/2006/relationships/image" Target="../media/image15.png"/><Relationship Id="rId15" Type="http://schemas.openxmlformats.org/officeDocument/2006/relationships/chart" Target="../charts/chart2.xml"/><Relationship Id="rId10" Type="http://schemas.openxmlformats.org/officeDocument/2006/relationships/image" Target="../media/image3.png"/><Relationship Id="rId4" Type="http://schemas.openxmlformats.org/officeDocument/2006/relationships/image" Target="../media/image14.png"/><Relationship Id="rId9" Type="http://schemas.openxmlformats.org/officeDocument/2006/relationships/image" Target="../media/image18.png"/><Relationship Id="rId14" Type="http://schemas.openxmlformats.org/officeDocument/2006/relationships/image" Target="../media/image22.svg"/></Relationships>
</file>

<file path=ppt/slides/_rels/slide4.xml.rels><?xml version="1.0" encoding="UTF-8" standalone="yes"?>
<Relationships xmlns="http://schemas.openxmlformats.org/package/2006/relationships"><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9" Type="http://schemas.openxmlformats.org/officeDocument/2006/relationships/tags" Target="../tags/tag53.xml"/><Relationship Id="rId21" Type="http://schemas.openxmlformats.org/officeDocument/2006/relationships/tags" Target="../tags/tag35.xml"/><Relationship Id="rId34" Type="http://schemas.openxmlformats.org/officeDocument/2006/relationships/tags" Target="../tags/tag48.xml"/><Relationship Id="rId42" Type="http://schemas.openxmlformats.org/officeDocument/2006/relationships/tags" Target="../tags/tag56.xml"/><Relationship Id="rId47" Type="http://schemas.openxmlformats.org/officeDocument/2006/relationships/tags" Target="../tags/tag61.xml"/><Relationship Id="rId50" Type="http://schemas.openxmlformats.org/officeDocument/2006/relationships/tags" Target="../tags/tag64.xml"/><Relationship Id="rId55" Type="http://schemas.openxmlformats.org/officeDocument/2006/relationships/tags" Target="../tags/tag69.xml"/><Relationship Id="rId63" Type="http://schemas.openxmlformats.org/officeDocument/2006/relationships/tags" Target="../tags/tag77.xml"/><Relationship Id="rId68" Type="http://schemas.openxmlformats.org/officeDocument/2006/relationships/tags" Target="../tags/tag82.xml"/><Relationship Id="rId76" Type="http://schemas.openxmlformats.org/officeDocument/2006/relationships/tags" Target="../tags/tag90.xml"/><Relationship Id="rId84" Type="http://schemas.openxmlformats.org/officeDocument/2006/relationships/image" Target="../media/image14.png"/><Relationship Id="rId89" Type="http://schemas.openxmlformats.org/officeDocument/2006/relationships/chart" Target="../charts/chart6.xml"/><Relationship Id="rId7" Type="http://schemas.openxmlformats.org/officeDocument/2006/relationships/tags" Target="../tags/tag21.xml"/><Relationship Id="rId71" Type="http://schemas.openxmlformats.org/officeDocument/2006/relationships/tags" Target="../tags/tag85.xml"/><Relationship Id="rId2" Type="http://schemas.openxmlformats.org/officeDocument/2006/relationships/tags" Target="../tags/tag16.xml"/><Relationship Id="rId16" Type="http://schemas.openxmlformats.org/officeDocument/2006/relationships/tags" Target="../tags/tag30.xml"/><Relationship Id="rId29" Type="http://schemas.openxmlformats.org/officeDocument/2006/relationships/tags" Target="../tags/tag43.xml"/><Relationship Id="rId11" Type="http://schemas.openxmlformats.org/officeDocument/2006/relationships/tags" Target="../tags/tag25.xml"/><Relationship Id="rId24" Type="http://schemas.openxmlformats.org/officeDocument/2006/relationships/tags" Target="../tags/tag38.xml"/><Relationship Id="rId32" Type="http://schemas.openxmlformats.org/officeDocument/2006/relationships/tags" Target="../tags/tag46.xml"/><Relationship Id="rId37" Type="http://schemas.openxmlformats.org/officeDocument/2006/relationships/tags" Target="../tags/tag51.xml"/><Relationship Id="rId40" Type="http://schemas.openxmlformats.org/officeDocument/2006/relationships/tags" Target="../tags/tag54.xml"/><Relationship Id="rId45" Type="http://schemas.openxmlformats.org/officeDocument/2006/relationships/tags" Target="../tags/tag59.xml"/><Relationship Id="rId53" Type="http://schemas.openxmlformats.org/officeDocument/2006/relationships/tags" Target="../tags/tag67.xml"/><Relationship Id="rId58" Type="http://schemas.openxmlformats.org/officeDocument/2006/relationships/tags" Target="../tags/tag72.xml"/><Relationship Id="rId66" Type="http://schemas.openxmlformats.org/officeDocument/2006/relationships/tags" Target="../tags/tag80.xml"/><Relationship Id="rId74" Type="http://schemas.openxmlformats.org/officeDocument/2006/relationships/tags" Target="../tags/tag88.xml"/><Relationship Id="rId79" Type="http://schemas.openxmlformats.org/officeDocument/2006/relationships/oleObject" Target="../embeddings/oleObject8.bin"/><Relationship Id="rId87" Type="http://schemas.openxmlformats.org/officeDocument/2006/relationships/chart" Target="../charts/chart4.xml"/><Relationship Id="rId5" Type="http://schemas.openxmlformats.org/officeDocument/2006/relationships/tags" Target="../tags/tag19.xml"/><Relationship Id="rId61" Type="http://schemas.openxmlformats.org/officeDocument/2006/relationships/tags" Target="../tags/tag75.xml"/><Relationship Id="rId82" Type="http://schemas.openxmlformats.org/officeDocument/2006/relationships/image" Target="../media/image23.png"/><Relationship Id="rId90" Type="http://schemas.openxmlformats.org/officeDocument/2006/relationships/chart" Target="../charts/chart7.xml"/><Relationship Id="rId19" Type="http://schemas.openxmlformats.org/officeDocument/2006/relationships/tags" Target="../tags/tag3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tags" Target="../tags/tag44.xml"/><Relationship Id="rId35" Type="http://schemas.openxmlformats.org/officeDocument/2006/relationships/tags" Target="../tags/tag49.xml"/><Relationship Id="rId43" Type="http://schemas.openxmlformats.org/officeDocument/2006/relationships/tags" Target="../tags/tag57.xml"/><Relationship Id="rId48" Type="http://schemas.openxmlformats.org/officeDocument/2006/relationships/tags" Target="../tags/tag62.xml"/><Relationship Id="rId56" Type="http://schemas.openxmlformats.org/officeDocument/2006/relationships/tags" Target="../tags/tag70.xml"/><Relationship Id="rId64" Type="http://schemas.openxmlformats.org/officeDocument/2006/relationships/tags" Target="../tags/tag78.xml"/><Relationship Id="rId69" Type="http://schemas.openxmlformats.org/officeDocument/2006/relationships/tags" Target="../tags/tag83.xml"/><Relationship Id="rId77" Type="http://schemas.openxmlformats.org/officeDocument/2006/relationships/slideLayout" Target="../slideLayouts/slideLayout14.xml"/><Relationship Id="rId8" Type="http://schemas.openxmlformats.org/officeDocument/2006/relationships/tags" Target="../tags/tag22.xml"/><Relationship Id="rId51" Type="http://schemas.openxmlformats.org/officeDocument/2006/relationships/tags" Target="../tags/tag65.xml"/><Relationship Id="rId72" Type="http://schemas.openxmlformats.org/officeDocument/2006/relationships/tags" Target="../tags/tag86.xml"/><Relationship Id="rId80" Type="http://schemas.openxmlformats.org/officeDocument/2006/relationships/image" Target="../media/image1.emf"/><Relationship Id="rId85" Type="http://schemas.openxmlformats.org/officeDocument/2006/relationships/chart" Target="../charts/chart3.xml"/><Relationship Id="rId3" Type="http://schemas.openxmlformats.org/officeDocument/2006/relationships/tags" Target="../tags/tag17.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33" Type="http://schemas.openxmlformats.org/officeDocument/2006/relationships/tags" Target="../tags/tag47.xml"/><Relationship Id="rId38" Type="http://schemas.openxmlformats.org/officeDocument/2006/relationships/tags" Target="../tags/tag52.xml"/><Relationship Id="rId46" Type="http://schemas.openxmlformats.org/officeDocument/2006/relationships/tags" Target="../tags/tag60.xml"/><Relationship Id="rId59" Type="http://schemas.openxmlformats.org/officeDocument/2006/relationships/tags" Target="../tags/tag73.xml"/><Relationship Id="rId67" Type="http://schemas.openxmlformats.org/officeDocument/2006/relationships/tags" Target="../tags/tag81.xml"/><Relationship Id="rId20" Type="http://schemas.openxmlformats.org/officeDocument/2006/relationships/tags" Target="../tags/tag34.xml"/><Relationship Id="rId41" Type="http://schemas.openxmlformats.org/officeDocument/2006/relationships/tags" Target="../tags/tag55.xml"/><Relationship Id="rId54" Type="http://schemas.openxmlformats.org/officeDocument/2006/relationships/tags" Target="../tags/tag68.xml"/><Relationship Id="rId62" Type="http://schemas.openxmlformats.org/officeDocument/2006/relationships/tags" Target="../tags/tag76.xml"/><Relationship Id="rId70" Type="http://schemas.openxmlformats.org/officeDocument/2006/relationships/tags" Target="../tags/tag84.xml"/><Relationship Id="rId75" Type="http://schemas.openxmlformats.org/officeDocument/2006/relationships/tags" Target="../tags/tag89.xml"/><Relationship Id="rId83" Type="http://schemas.openxmlformats.org/officeDocument/2006/relationships/image" Target="../media/image24.png"/><Relationship Id="rId88" Type="http://schemas.openxmlformats.org/officeDocument/2006/relationships/chart" Target="../charts/chart5.xml"/><Relationship Id="rId91" Type="http://schemas.openxmlformats.org/officeDocument/2006/relationships/chart" Target="../charts/chart8.xml"/><Relationship Id="rId1" Type="http://schemas.openxmlformats.org/officeDocument/2006/relationships/tags" Target="../tags/tag15.xml"/><Relationship Id="rId6" Type="http://schemas.openxmlformats.org/officeDocument/2006/relationships/tags" Target="../tags/tag20.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tags" Target="../tags/tag42.xml"/><Relationship Id="rId36" Type="http://schemas.openxmlformats.org/officeDocument/2006/relationships/tags" Target="../tags/tag50.xml"/><Relationship Id="rId49" Type="http://schemas.openxmlformats.org/officeDocument/2006/relationships/tags" Target="../tags/tag63.xml"/><Relationship Id="rId57" Type="http://schemas.openxmlformats.org/officeDocument/2006/relationships/tags" Target="../tags/tag71.xml"/><Relationship Id="rId10" Type="http://schemas.openxmlformats.org/officeDocument/2006/relationships/tags" Target="../tags/tag24.xml"/><Relationship Id="rId31" Type="http://schemas.openxmlformats.org/officeDocument/2006/relationships/tags" Target="../tags/tag45.xml"/><Relationship Id="rId44" Type="http://schemas.openxmlformats.org/officeDocument/2006/relationships/tags" Target="../tags/tag58.xml"/><Relationship Id="rId52" Type="http://schemas.openxmlformats.org/officeDocument/2006/relationships/tags" Target="../tags/tag66.xml"/><Relationship Id="rId60" Type="http://schemas.openxmlformats.org/officeDocument/2006/relationships/tags" Target="../tags/tag74.xml"/><Relationship Id="rId65" Type="http://schemas.openxmlformats.org/officeDocument/2006/relationships/tags" Target="../tags/tag79.xml"/><Relationship Id="rId73" Type="http://schemas.openxmlformats.org/officeDocument/2006/relationships/tags" Target="../tags/tag87.xml"/><Relationship Id="rId78" Type="http://schemas.openxmlformats.org/officeDocument/2006/relationships/notesSlide" Target="../notesSlides/notesSlide1.xml"/><Relationship Id="rId81" Type="http://schemas.openxmlformats.org/officeDocument/2006/relationships/image" Target="../media/image15.png"/><Relationship Id="rId86" Type="http://schemas.openxmlformats.org/officeDocument/2006/relationships/image" Target="../media/image3.png"/><Relationship Id="rId4" Type="http://schemas.openxmlformats.org/officeDocument/2006/relationships/tags" Target="../tags/tag18.xml"/><Relationship Id="rId9" Type="http://schemas.openxmlformats.org/officeDocument/2006/relationships/tags" Target="../tags/tag23.xml"/></Relationships>
</file>

<file path=ppt/slides/_rels/slide5.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image" Target="../media/image1.emf"/><Relationship Id="rId3" Type="http://schemas.openxmlformats.org/officeDocument/2006/relationships/tags" Target="../tags/tag93.xml"/><Relationship Id="rId21" Type="http://schemas.openxmlformats.org/officeDocument/2006/relationships/tags" Target="../tags/tag111.xml"/><Relationship Id="rId34" Type="http://schemas.openxmlformats.org/officeDocument/2006/relationships/chart" Target="../charts/chart10.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oleObject" Target="../embeddings/oleObject9.bin"/><Relationship Id="rId33" Type="http://schemas.openxmlformats.org/officeDocument/2006/relationships/image" Target="../media/image3.png"/><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tags" Target="../tags/tag110.xml"/><Relationship Id="rId29" Type="http://schemas.openxmlformats.org/officeDocument/2006/relationships/image" Target="../media/image23.png"/><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notesSlide" Target="../notesSlides/notesSlide2.xml"/><Relationship Id="rId32" Type="http://schemas.openxmlformats.org/officeDocument/2006/relationships/chart" Target="../charts/chart9.xml"/><Relationship Id="rId5" Type="http://schemas.openxmlformats.org/officeDocument/2006/relationships/tags" Target="../tags/tag95.xml"/><Relationship Id="rId15" Type="http://schemas.openxmlformats.org/officeDocument/2006/relationships/tags" Target="../tags/tag105.xml"/><Relationship Id="rId23" Type="http://schemas.openxmlformats.org/officeDocument/2006/relationships/slideLayout" Target="../slideLayouts/slideLayout14.xml"/><Relationship Id="rId28" Type="http://schemas.openxmlformats.org/officeDocument/2006/relationships/image" Target="../media/image14.png"/><Relationship Id="rId10" Type="http://schemas.openxmlformats.org/officeDocument/2006/relationships/tags" Target="../tags/tag100.xml"/><Relationship Id="rId19" Type="http://schemas.openxmlformats.org/officeDocument/2006/relationships/tags" Target="../tags/tag109.xml"/><Relationship Id="rId31" Type="http://schemas.openxmlformats.org/officeDocument/2006/relationships/image" Target="../media/image25.emf"/><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image" Target="../media/image15.png"/><Relationship Id="rId30" Type="http://schemas.openxmlformats.org/officeDocument/2006/relationships/image" Target="../media/image24.png"/></Relationships>
</file>

<file path=ppt/slides/_rels/slide6.xml.rels><?xml version="1.0" encoding="UTF-8" standalone="yes"?>
<Relationships xmlns="http://schemas.openxmlformats.org/package/2006/relationships"><Relationship Id="rId8" Type="http://schemas.openxmlformats.org/officeDocument/2006/relationships/package" Target="../embeddings/Microsoft_Excel_Worksheet.xlsx"/><Relationship Id="rId3" Type="http://schemas.openxmlformats.org/officeDocument/2006/relationships/tags" Target="../tags/tag115.xml"/><Relationship Id="rId7" Type="http://schemas.openxmlformats.org/officeDocument/2006/relationships/image" Target="../media/image14.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4.xml"/><Relationship Id="rId9" Type="http://schemas.openxmlformats.org/officeDocument/2006/relationships/image" Target="../media/image26.emf"/></Relationships>
</file>

<file path=ppt/slides/_rels/slide7.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Layout" Target="../slideLayouts/slideLayout14.xml"/><Relationship Id="rId7" Type="http://schemas.openxmlformats.org/officeDocument/2006/relationships/package" Target="../embeddings/Microsoft_Excel_Worksheet6.xlsx"/><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8.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package" Target="../embeddings/Microsoft_Excel_Worksheet7.xlsx"/><Relationship Id="rId5" Type="http://schemas.openxmlformats.org/officeDocument/2006/relationships/image" Target="../media/image1.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9.emf"/><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D79D345A-F3AE-4DAD-A3B3-8A8997AFD067}"/>
              </a:ext>
            </a:extLst>
          </p:cNvPr>
          <p:cNvGraphicFramePr>
            <a:graphicFrameLocks noChangeAspect="1"/>
          </p:cNvGraphicFramePr>
          <p:nvPr>
            <p:custDataLst>
              <p:tags r:id="rId1"/>
            </p:custDataLst>
            <p:extLst>
              <p:ext uri="{D42A27DB-BD31-4B8C-83A1-F6EECF244321}">
                <p14:modId xmlns:p14="http://schemas.microsoft.com/office/powerpoint/2010/main" val="2620327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5" progId="TCLayout.ActiveDocument.1">
                  <p:embed/>
                </p:oleObj>
              </mc:Choice>
              <mc:Fallback>
                <p:oleObj name="Diapositive think-cell" r:id="rId4" imgW="421" imgH="425" progId="TCLayout.ActiveDocument.1">
                  <p:embed/>
                  <p:pic>
                    <p:nvPicPr>
                      <p:cNvPr id="6" name="Objet 5" hidden="1">
                        <a:extLst>
                          <a:ext uri="{FF2B5EF4-FFF2-40B4-BE49-F238E27FC236}">
                            <a16:creationId xmlns:a16="http://schemas.microsoft.com/office/drawing/2014/main" id="{D79D345A-F3AE-4DAD-A3B3-8A8997AFD0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C45E36E-01C1-48AD-A35D-FC626F8109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3000" b="1" dirty="0">
              <a:latin typeface="Arial" panose="020B0604020202020204" pitchFamily="34" charset="0"/>
              <a:ea typeface="+mj-ea"/>
              <a:cs typeface="+mj-cs"/>
              <a:sym typeface="Arial" panose="020B0604020202020204" pitchFamily="34" charset="0"/>
            </a:endParaRPr>
          </a:p>
        </p:txBody>
      </p:sp>
      <p:sp>
        <p:nvSpPr>
          <p:cNvPr id="2" name="Sous-titre 1">
            <a:extLst>
              <a:ext uri="{FF2B5EF4-FFF2-40B4-BE49-F238E27FC236}">
                <a16:creationId xmlns:a16="http://schemas.microsoft.com/office/drawing/2014/main" id="{71155487-2948-4B79-B454-10A25402BAD8}"/>
              </a:ext>
            </a:extLst>
          </p:cNvPr>
          <p:cNvSpPr>
            <a:spLocks noGrp="1"/>
          </p:cNvSpPr>
          <p:nvPr>
            <p:ph type="subTitle" idx="1"/>
          </p:nvPr>
        </p:nvSpPr>
        <p:spPr>
          <a:xfrm>
            <a:off x="719999" y="4533790"/>
            <a:ext cx="7200000" cy="892681"/>
          </a:xfrm>
        </p:spPr>
        <p:txBody>
          <a:bodyPr/>
          <a:lstStyle/>
          <a:p>
            <a:pPr algn="ctr"/>
            <a:r>
              <a:rPr lang="fr-FR" sz="2000" dirty="0"/>
              <a:t>Novembre-décembre 2021</a:t>
            </a:r>
          </a:p>
        </p:txBody>
      </p:sp>
      <p:sp>
        <p:nvSpPr>
          <p:cNvPr id="3" name="Espace réservé du pied de page 2">
            <a:extLst>
              <a:ext uri="{FF2B5EF4-FFF2-40B4-BE49-F238E27FC236}">
                <a16:creationId xmlns:a16="http://schemas.microsoft.com/office/drawing/2014/main" id="{D112CBE1-AED7-4441-AC37-62CEB63C54DD}"/>
              </a:ext>
            </a:extLst>
          </p:cNvPr>
          <p:cNvSpPr>
            <a:spLocks noGrp="1"/>
          </p:cNvSpPr>
          <p:nvPr>
            <p:ph type="ftr" sz="quarter" idx="11"/>
          </p:nvPr>
        </p:nvSpPr>
        <p:spPr/>
        <p:txBody>
          <a:bodyPr/>
          <a:lstStyle/>
          <a:p>
            <a:pPr algn="l"/>
            <a:r>
              <a:rPr lang="fr-FR"/>
              <a:t>Dashboard Marché Aéronautique - Nov/Dec 2021</a:t>
            </a:r>
            <a:endParaRPr lang="fr-FR" dirty="0"/>
          </a:p>
        </p:txBody>
      </p:sp>
      <p:sp>
        <p:nvSpPr>
          <p:cNvPr id="4" name="Espace réservé du numéro de diapositive 3">
            <a:extLst>
              <a:ext uri="{FF2B5EF4-FFF2-40B4-BE49-F238E27FC236}">
                <a16:creationId xmlns:a16="http://schemas.microsoft.com/office/drawing/2014/main" id="{EFCAC40A-5772-409F-94C4-B07936A5221F}"/>
              </a:ext>
            </a:extLst>
          </p:cNvPr>
          <p:cNvSpPr>
            <a:spLocks noGrp="1"/>
          </p:cNvSpPr>
          <p:nvPr>
            <p:ph type="sldNum" sz="quarter" idx="12"/>
          </p:nvPr>
        </p:nvSpPr>
        <p:spPr/>
        <p:txBody>
          <a:bodyPr/>
          <a:lstStyle/>
          <a:p>
            <a:fld id="{733122C9-A0B9-462F-8757-0847AD287B63}" type="slidenum">
              <a:rPr lang="fr-FR" smtClean="0"/>
              <a:pPr/>
              <a:t>1</a:t>
            </a:fld>
            <a:endParaRPr lang="fr-FR" dirty="0"/>
          </a:p>
        </p:txBody>
      </p:sp>
      <p:sp>
        <p:nvSpPr>
          <p:cNvPr id="5" name="Titre 4">
            <a:extLst>
              <a:ext uri="{FF2B5EF4-FFF2-40B4-BE49-F238E27FC236}">
                <a16:creationId xmlns:a16="http://schemas.microsoft.com/office/drawing/2014/main" id="{2D32FCD6-F0A9-418A-8BE5-F7A667BDE4F5}"/>
              </a:ext>
            </a:extLst>
          </p:cNvPr>
          <p:cNvSpPr>
            <a:spLocks noGrp="1"/>
          </p:cNvSpPr>
          <p:nvPr>
            <p:ph type="title"/>
          </p:nvPr>
        </p:nvSpPr>
        <p:spPr>
          <a:xfrm>
            <a:off x="719998" y="2657915"/>
            <a:ext cx="7625715" cy="1512168"/>
          </a:xfrm>
        </p:spPr>
        <p:txBody>
          <a:bodyPr anchor="ctr"/>
          <a:lstStyle/>
          <a:p>
            <a:r>
              <a:rPr lang="fr-FR" dirty="0"/>
              <a:t>DASHBOARD MARCHE AERONAUTIQUE</a:t>
            </a:r>
          </a:p>
        </p:txBody>
      </p:sp>
      <p:pic>
        <p:nvPicPr>
          <p:cNvPr id="8" name="Image 31">
            <a:extLst>
              <a:ext uri="{FF2B5EF4-FFF2-40B4-BE49-F238E27FC236}">
                <a16:creationId xmlns:a16="http://schemas.microsoft.com/office/drawing/2014/main" id="{7E5578D3-3745-4D08-816C-5DE494E4CAA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20614055">
            <a:off x="4064539" y="3483807"/>
            <a:ext cx="936633" cy="936633"/>
          </a:xfrm>
          <a:prstGeom prst="rect">
            <a:avLst/>
          </a:prstGeom>
        </p:spPr>
      </p:pic>
    </p:spTree>
    <p:extLst>
      <p:ext uri="{BB962C8B-B14F-4D97-AF65-F5344CB8AC3E}">
        <p14:creationId xmlns:p14="http://schemas.microsoft.com/office/powerpoint/2010/main" val="33664641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C955E23-F32A-40DC-941D-B43174DD6004}"/>
              </a:ext>
            </a:extLst>
          </p:cNvPr>
          <p:cNvGraphicFramePr>
            <a:graphicFrameLocks noChangeAspect="1"/>
          </p:cNvGraphicFramePr>
          <p:nvPr>
            <p:custDataLst>
              <p:tags r:id="rId1"/>
            </p:custDataLst>
            <p:extLst>
              <p:ext uri="{D42A27DB-BD31-4B8C-83A1-F6EECF244321}">
                <p14:modId xmlns:p14="http://schemas.microsoft.com/office/powerpoint/2010/main" val="1482227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4" imgH="344" progId="TCLayout.ActiveDocument.1">
                  <p:embed/>
                </p:oleObj>
              </mc:Choice>
              <mc:Fallback>
                <p:oleObj name="Diapositive think-cell" r:id="rId4" imgW="344" imgH="344" progId="TCLayout.ActiveDocument.1">
                  <p:embed/>
                  <p:pic>
                    <p:nvPicPr>
                      <p:cNvPr id="11" name="Objet 10" hidden="1">
                        <a:extLst>
                          <a:ext uri="{FF2B5EF4-FFF2-40B4-BE49-F238E27FC236}">
                            <a16:creationId xmlns:a16="http://schemas.microsoft.com/office/drawing/2014/main" id="{CC955E23-F32A-40DC-941D-B43174DD60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0C53F206-7E74-462B-9214-12AA6497D8F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9" name="Titre 8">
            <a:extLst>
              <a:ext uri="{FF2B5EF4-FFF2-40B4-BE49-F238E27FC236}">
                <a16:creationId xmlns:a16="http://schemas.microsoft.com/office/drawing/2014/main" id="{9B77A387-E35E-4408-85E6-BA5689DA3A87}"/>
              </a:ext>
            </a:extLst>
          </p:cNvPr>
          <p:cNvSpPr>
            <a:spLocks noGrp="1"/>
          </p:cNvSpPr>
          <p:nvPr>
            <p:ph type="title"/>
          </p:nvPr>
        </p:nvSpPr>
        <p:spPr/>
        <p:txBody>
          <a:bodyPr/>
          <a:lstStyle/>
          <a:p>
            <a:r>
              <a:rPr lang="fr-FR" dirty="0"/>
              <a:t>Tableau 5 : Nb d’avions produits non-livrés</a:t>
            </a:r>
          </a:p>
        </p:txBody>
      </p:sp>
      <p:sp>
        <p:nvSpPr>
          <p:cNvPr id="6" name="Espace réservé du pied de page 5">
            <a:extLst>
              <a:ext uri="{FF2B5EF4-FFF2-40B4-BE49-F238E27FC236}">
                <a16:creationId xmlns:a16="http://schemas.microsoft.com/office/drawing/2014/main" id="{FB82CE22-E919-4C01-8F14-5DC2F5AF3DA9}"/>
              </a:ext>
            </a:extLst>
          </p:cNvPr>
          <p:cNvSpPr>
            <a:spLocks noGrp="1"/>
          </p:cNvSpPr>
          <p:nvPr>
            <p:ph type="ftr" sz="quarter" idx="15"/>
          </p:nvPr>
        </p:nvSpPr>
        <p:spPr>
          <a:xfrm>
            <a:off x="1149451" y="6347411"/>
            <a:ext cx="4560000" cy="440684"/>
          </a:xfrm>
        </p:spPr>
        <p:txBody>
          <a:bodyPr/>
          <a:lstStyle/>
          <a:p>
            <a:pPr algn="l"/>
            <a:r>
              <a:rPr lang="fr-FR"/>
              <a:t>Dashboard Marché Aéronautique - Nov/Dec 2021</a:t>
            </a:r>
            <a:endParaRPr lang="fr-FR" dirty="0"/>
          </a:p>
        </p:txBody>
      </p:sp>
      <p:sp>
        <p:nvSpPr>
          <p:cNvPr id="7" name="Espace réservé du numéro de diapositive 6">
            <a:extLst>
              <a:ext uri="{FF2B5EF4-FFF2-40B4-BE49-F238E27FC236}">
                <a16:creationId xmlns:a16="http://schemas.microsoft.com/office/drawing/2014/main" id="{3FFDC2EA-0859-4AB1-9FE8-460E154C4D28}"/>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10</a:t>
            </a:fld>
            <a:endParaRPr lang="fr-FR" dirty="0"/>
          </a:p>
        </p:txBody>
      </p:sp>
      <p:pic>
        <p:nvPicPr>
          <p:cNvPr id="16" name="Image 31">
            <a:extLst>
              <a:ext uri="{FF2B5EF4-FFF2-40B4-BE49-F238E27FC236}">
                <a16:creationId xmlns:a16="http://schemas.microsoft.com/office/drawing/2014/main" id="{06FC6698-3CD9-45A0-A54C-AC72E019C99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graphicFrame>
        <p:nvGraphicFramePr>
          <p:cNvPr id="2" name="Objet 1">
            <a:extLst>
              <a:ext uri="{FF2B5EF4-FFF2-40B4-BE49-F238E27FC236}">
                <a16:creationId xmlns:a16="http://schemas.microsoft.com/office/drawing/2014/main" id="{E52BEB98-4482-4DF6-8CC0-4DEA1B49032E}"/>
              </a:ext>
            </a:extLst>
          </p:cNvPr>
          <p:cNvGraphicFramePr>
            <a:graphicFrameLocks noChangeAspect="1"/>
          </p:cNvGraphicFramePr>
          <p:nvPr>
            <p:extLst>
              <p:ext uri="{D42A27DB-BD31-4B8C-83A1-F6EECF244321}">
                <p14:modId xmlns:p14="http://schemas.microsoft.com/office/powerpoint/2010/main" val="4199226367"/>
              </p:ext>
            </p:extLst>
          </p:nvPr>
        </p:nvGraphicFramePr>
        <p:xfrm>
          <a:off x="485775" y="1427163"/>
          <a:ext cx="11220450" cy="4000500"/>
        </p:xfrm>
        <a:graphic>
          <a:graphicData uri="http://schemas.openxmlformats.org/presentationml/2006/ole">
            <mc:AlternateContent xmlns:mc="http://schemas.openxmlformats.org/markup-compatibility/2006">
              <mc:Choice xmlns:v="urn:schemas-microsoft-com:vml" Requires="v">
                <p:oleObj name="Worksheet" r:id="rId7" imgW="11220493" imgH="4000500" progId="Excel.Sheet.12">
                  <p:embed/>
                </p:oleObj>
              </mc:Choice>
              <mc:Fallback>
                <p:oleObj name="Worksheet" r:id="rId7" imgW="11220493" imgH="4000500" progId="Excel.Sheet.12">
                  <p:embed/>
                  <p:pic>
                    <p:nvPicPr>
                      <p:cNvPr id="2" name="Objet 1">
                        <a:extLst>
                          <a:ext uri="{FF2B5EF4-FFF2-40B4-BE49-F238E27FC236}">
                            <a16:creationId xmlns:a16="http://schemas.microsoft.com/office/drawing/2014/main" id="{E52BEB98-4482-4DF6-8CC0-4DEA1B49032E}"/>
                          </a:ext>
                        </a:extLst>
                      </p:cNvPr>
                      <p:cNvPicPr/>
                      <p:nvPr/>
                    </p:nvPicPr>
                    <p:blipFill>
                      <a:blip r:embed="rId8"/>
                      <a:stretch>
                        <a:fillRect/>
                      </a:stretch>
                    </p:blipFill>
                    <p:spPr>
                      <a:xfrm>
                        <a:off x="485775" y="1427163"/>
                        <a:ext cx="11220450" cy="4000500"/>
                      </a:xfrm>
                      <a:prstGeom prst="rect">
                        <a:avLst/>
                      </a:prstGeom>
                    </p:spPr>
                  </p:pic>
                </p:oleObj>
              </mc:Fallback>
            </mc:AlternateContent>
          </a:graphicData>
        </a:graphic>
      </p:graphicFrame>
    </p:spTree>
    <p:extLst>
      <p:ext uri="{BB962C8B-B14F-4D97-AF65-F5344CB8AC3E}">
        <p14:creationId xmlns:p14="http://schemas.microsoft.com/office/powerpoint/2010/main" val="19409523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B06D9AB6-E237-4C6E-821B-31F8C3ED705A}"/>
              </a:ext>
            </a:extLst>
          </p:cNvPr>
          <p:cNvGraphicFramePr>
            <a:graphicFrameLocks noChangeAspect="1"/>
          </p:cNvGraphicFramePr>
          <p:nvPr>
            <p:custDataLst>
              <p:tags r:id="rId1"/>
            </p:custDataLst>
            <p:extLst>
              <p:ext uri="{D42A27DB-BD31-4B8C-83A1-F6EECF244321}">
                <p14:modId xmlns:p14="http://schemas.microsoft.com/office/powerpoint/2010/main" val="635764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5" progId="TCLayout.ActiveDocument.1">
                  <p:embed/>
                </p:oleObj>
              </mc:Choice>
              <mc:Fallback>
                <p:oleObj name="Diapositive think-cell" r:id="rId4" imgW="421" imgH="425" progId="TCLayout.ActiveDocument.1">
                  <p:embed/>
                  <p:pic>
                    <p:nvPicPr>
                      <p:cNvPr id="7" name="Objet 6" hidden="1">
                        <a:extLst>
                          <a:ext uri="{FF2B5EF4-FFF2-40B4-BE49-F238E27FC236}">
                            <a16:creationId xmlns:a16="http://schemas.microsoft.com/office/drawing/2014/main" id="{B06D9AB6-E237-4C6E-821B-31F8C3ED70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602319-9FE6-468F-9C64-A3F51797A8E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4" name="Titre 3">
            <a:extLst>
              <a:ext uri="{FF2B5EF4-FFF2-40B4-BE49-F238E27FC236}">
                <a16:creationId xmlns:a16="http://schemas.microsoft.com/office/drawing/2014/main" id="{023203ED-EC42-4EE3-B4A9-03B13C87BE88}"/>
              </a:ext>
            </a:extLst>
          </p:cNvPr>
          <p:cNvSpPr>
            <a:spLocks noGrp="1"/>
          </p:cNvSpPr>
          <p:nvPr>
            <p:ph type="title"/>
          </p:nvPr>
        </p:nvSpPr>
        <p:spPr/>
        <p:txBody>
          <a:bodyPr/>
          <a:lstStyle/>
          <a:p>
            <a:r>
              <a:rPr lang="fr-FR" cap="small" dirty="0"/>
              <a:t>Faits Marquants</a:t>
            </a:r>
          </a:p>
        </p:txBody>
      </p:sp>
      <p:sp>
        <p:nvSpPr>
          <p:cNvPr id="5" name="Espace réservé du pied de page 4">
            <a:extLst>
              <a:ext uri="{FF2B5EF4-FFF2-40B4-BE49-F238E27FC236}">
                <a16:creationId xmlns:a16="http://schemas.microsoft.com/office/drawing/2014/main" id="{3CF6DB7C-9122-47F9-8DB5-454E26AF0931}"/>
              </a:ext>
            </a:extLst>
          </p:cNvPr>
          <p:cNvSpPr>
            <a:spLocks noGrp="1"/>
          </p:cNvSpPr>
          <p:nvPr>
            <p:ph type="ftr" sz="quarter" idx="25"/>
          </p:nvPr>
        </p:nvSpPr>
        <p:spPr/>
        <p:txBody>
          <a:bodyPr/>
          <a:lstStyle/>
          <a:p>
            <a:pPr algn="l"/>
            <a:r>
              <a:rPr lang="fr-FR"/>
              <a:t>Dashboard Marché Aéronautique - Nov/Dec 2021</a:t>
            </a:r>
            <a:endParaRPr lang="fr-FR" dirty="0"/>
          </a:p>
        </p:txBody>
      </p:sp>
      <p:sp>
        <p:nvSpPr>
          <p:cNvPr id="6" name="Espace réservé du numéro de diapositive 5">
            <a:extLst>
              <a:ext uri="{FF2B5EF4-FFF2-40B4-BE49-F238E27FC236}">
                <a16:creationId xmlns:a16="http://schemas.microsoft.com/office/drawing/2014/main" id="{5996FB57-2D99-4F2D-AB78-B70B35F5A5DB}"/>
              </a:ext>
            </a:extLst>
          </p:cNvPr>
          <p:cNvSpPr>
            <a:spLocks noGrp="1"/>
          </p:cNvSpPr>
          <p:nvPr>
            <p:ph type="sldNum" sz="quarter" idx="26"/>
          </p:nvPr>
        </p:nvSpPr>
        <p:spPr/>
        <p:txBody>
          <a:bodyPr/>
          <a:lstStyle/>
          <a:p>
            <a:fld id="{733122C9-A0B9-462F-8757-0847AD287B63}" type="slidenum">
              <a:rPr lang="fr-FR" smtClean="0"/>
              <a:pPr/>
              <a:t>2</a:t>
            </a:fld>
            <a:endParaRPr lang="fr-FR" dirty="0"/>
          </a:p>
        </p:txBody>
      </p:sp>
      <p:pic>
        <p:nvPicPr>
          <p:cNvPr id="15" name="Image 31">
            <a:extLst>
              <a:ext uri="{FF2B5EF4-FFF2-40B4-BE49-F238E27FC236}">
                <a16:creationId xmlns:a16="http://schemas.microsoft.com/office/drawing/2014/main" id="{E5BADAE8-4ADF-4B27-9178-4302935984E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sp>
        <p:nvSpPr>
          <p:cNvPr id="16" name="Ellipse 15">
            <a:extLst>
              <a:ext uri="{FF2B5EF4-FFF2-40B4-BE49-F238E27FC236}">
                <a16:creationId xmlns:a16="http://schemas.microsoft.com/office/drawing/2014/main" id="{77916895-3A80-4E39-8AA6-C061A20B913A}"/>
              </a:ext>
            </a:extLst>
          </p:cNvPr>
          <p:cNvSpPr/>
          <p:nvPr/>
        </p:nvSpPr>
        <p:spPr>
          <a:xfrm>
            <a:off x="263375" y="460109"/>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4</a:t>
            </a:r>
          </a:p>
        </p:txBody>
      </p:sp>
      <p:sp>
        <p:nvSpPr>
          <p:cNvPr id="18" name="Espace réservé du contenu 2">
            <a:extLst>
              <a:ext uri="{FF2B5EF4-FFF2-40B4-BE49-F238E27FC236}">
                <a16:creationId xmlns:a16="http://schemas.microsoft.com/office/drawing/2014/main" id="{A68FD972-9CA0-4E04-A011-04EB94EF4394}"/>
              </a:ext>
            </a:extLst>
          </p:cNvPr>
          <p:cNvSpPr>
            <a:spLocks noGrp="1"/>
          </p:cNvSpPr>
          <p:nvPr>
            <p:ph type="body" sz="quarter" idx="17"/>
          </p:nvPr>
        </p:nvSpPr>
        <p:spPr>
          <a:xfrm>
            <a:off x="138333" y="952752"/>
            <a:ext cx="6038249" cy="5550850"/>
          </a:xfrm>
        </p:spPr>
        <p:txBody>
          <a:bodyPr lIns="0" tIns="0" rIns="0" bIns="0"/>
          <a:lstStyle/>
          <a:p>
            <a:pPr marL="0" lvl="2" indent="0" algn="just">
              <a:spcBef>
                <a:spcPts val="200"/>
              </a:spcBef>
              <a:buNone/>
            </a:pPr>
            <a:endParaRPr lang="fr-FR" sz="100" b="0" dirty="0">
              <a:solidFill>
                <a:srgbClr val="1A003B"/>
              </a:solidFill>
              <a:latin typeface="Calibri" panose="020F0502020204030204" pitchFamily="34" charset="0"/>
              <a:cs typeface="Calibri" panose="020F0502020204030204" pitchFamily="34" charset="0"/>
            </a:endParaRPr>
          </a:p>
          <a:p>
            <a:pPr marL="0" lvl="2" indent="0" algn="just">
              <a:spcBef>
                <a:spcPts val="200"/>
              </a:spcBef>
              <a:buNone/>
            </a:pPr>
            <a:r>
              <a:rPr lang="fr-FR" cap="small" dirty="0">
                <a:solidFill>
                  <a:schemeClr val="accent2"/>
                </a:solidFill>
                <a:latin typeface="Calibri" panose="020F0502020204030204" pitchFamily="34" charset="0"/>
                <a:cs typeface="Calibri" panose="020F0502020204030204" pitchFamily="34" charset="0"/>
              </a:rPr>
              <a:t>Airbus</a:t>
            </a:r>
            <a:endParaRPr lang="fr-FR" sz="300" cap="small" dirty="0">
              <a:solidFill>
                <a:schemeClr val="accent2"/>
              </a:solidFill>
              <a:latin typeface="Calibri" panose="020F0502020204030204" pitchFamily="34" charset="0"/>
              <a:cs typeface="Calibri" panose="020F0502020204030204" pitchFamily="34" charset="0"/>
            </a:endParaRPr>
          </a:p>
          <a:p>
            <a:pPr marL="270000" marR="0" lvl="2" indent="-270000" algn="just" defTabSz="914400" rtl="0" eaLnBrk="1" fontAlgn="auto" latinLnBrk="0" hangingPunct="1">
              <a:lnSpc>
                <a:spcPct val="100000"/>
              </a:lnSpc>
              <a:spcBef>
                <a:spcPts val="200"/>
              </a:spcBef>
              <a:spcAft>
                <a:spcPts val="0"/>
              </a:spcAft>
              <a:buClrTx/>
              <a:buSzPct val="100000"/>
              <a:buFontTx/>
              <a:buBlip>
                <a:blip r:embed="rId7"/>
              </a:buBlip>
              <a:tabLst/>
              <a:defRPr/>
            </a:pPr>
            <a:r>
              <a:rPr lang="fr-FR" sz="1200" dirty="0">
                <a:solidFill>
                  <a:srgbClr val="1A003B"/>
                </a:solidFill>
                <a:latin typeface="Calibri" panose="020F0502020204030204" pitchFamily="34" charset="0"/>
                <a:cs typeface="Calibri" panose="020F0502020204030204" pitchFamily="34" charset="0"/>
              </a:rPr>
              <a:t>A220-500 </a:t>
            </a:r>
            <a:r>
              <a:rPr lang="fr-FR" sz="1200" b="0" dirty="0">
                <a:solidFill>
                  <a:srgbClr val="1A003B"/>
                </a:solidFill>
                <a:latin typeface="Calibri" panose="020F0502020204030204" pitchFamily="34" charset="0"/>
                <a:cs typeface="Calibri" panose="020F0502020204030204" pitchFamily="34" charset="0"/>
              </a:rPr>
              <a:t>: Le développement d’une version allongée de l’A220 est passée à « très probable », même s’il n’est pas prioritaire par rapport au renforcement de la production des A220-100 et A220-300. L’A220-500 pourrait accueillir jusqu’à 180 passagers, Airbus estimant que cette capacité ne « cannibalisera pas » les ventes de la famille A320neo – la version A321neo dominant désormais les nouvelles commandes. Pas de date de lancement envisagée cependant pour l’A220-500 : Airbus compte avant tout augmenter les capacités de production de la famille A220, assemblée à Mirabel au Canada et Mobile en Alabama, et passer de cinq à 14 avions construits par mois. </a:t>
            </a:r>
          </a:p>
          <a:p>
            <a:pPr marL="270000" marR="0" lvl="2" indent="-270000" algn="just" defTabSz="914400" rtl="0" eaLnBrk="1" fontAlgn="auto" latinLnBrk="0" hangingPunct="1">
              <a:lnSpc>
                <a:spcPct val="100000"/>
              </a:lnSpc>
              <a:spcBef>
                <a:spcPts val="200"/>
              </a:spcBef>
              <a:spcAft>
                <a:spcPts val="0"/>
              </a:spcAft>
              <a:buClrTx/>
              <a:buSzPct val="100000"/>
              <a:buFontTx/>
              <a:buBlip>
                <a:blip r:embed="rId7"/>
              </a:buBlip>
              <a:tabLst/>
              <a:defRPr/>
            </a:pPr>
            <a:r>
              <a:rPr kumimoji="0" lang="fr-FR" sz="120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rPr>
              <a:t>A320 CEO </a:t>
            </a:r>
            <a:r>
              <a:rPr kumimoji="0" lang="fr-FR" sz="1200" b="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rPr>
              <a:t>: le dernier appareil de la famille A320 CEO a été livré en décembre. Désormais, 100% de la production de la famille A320 sera en version NEO. Il aura fallu 6 ans pour finaliser la transition entre les deux versions.</a:t>
            </a:r>
          </a:p>
          <a:p>
            <a:pPr marL="0" marR="0" lvl="2" indent="0" algn="just" defTabSz="914400" rtl="0" eaLnBrk="1" fontAlgn="auto" latinLnBrk="0" hangingPunct="1">
              <a:lnSpc>
                <a:spcPct val="100000"/>
              </a:lnSpc>
              <a:spcBef>
                <a:spcPts val="200"/>
              </a:spcBef>
              <a:spcAft>
                <a:spcPts val="0"/>
              </a:spcAft>
              <a:buClrTx/>
              <a:buSzPct val="100000"/>
              <a:buNone/>
              <a:tabLst/>
              <a:defRPr/>
            </a:pPr>
            <a:endParaRPr kumimoji="0" lang="fr-FR" sz="200" b="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endParaRPr>
          </a:p>
          <a:p>
            <a:pPr marL="3175" marR="0" lvl="1" indent="0" algn="just" defTabSz="914400" rtl="0" eaLnBrk="1" fontAlgn="auto" latinLnBrk="0" hangingPunct="1">
              <a:lnSpc>
                <a:spcPct val="100000"/>
              </a:lnSpc>
              <a:spcBef>
                <a:spcPts val="200"/>
              </a:spcBef>
              <a:spcAft>
                <a:spcPts val="0"/>
              </a:spcAft>
              <a:buClrTx/>
              <a:buSzTx/>
              <a:buFont typeface="Wingdings" pitchFamily="2" charset="2"/>
              <a:buNone/>
              <a:tabLst/>
              <a:defRPr/>
            </a:pPr>
            <a:r>
              <a:rPr kumimoji="0" lang="fr-FR" sz="1400" b="1" i="0" u="none" strike="noStrike" kern="1200" cap="small" spc="0" normalizeH="0" baseline="0" noProof="0" dirty="0">
                <a:ln>
                  <a:noFill/>
                </a:ln>
                <a:solidFill>
                  <a:srgbClr val="FA6414"/>
                </a:solidFill>
                <a:effectLst/>
                <a:uLnTx/>
                <a:uFillTx/>
                <a:latin typeface="Calibri" panose="020F0502020204030204" pitchFamily="34" charset="0"/>
                <a:ea typeface="+mn-ea"/>
                <a:cs typeface="Calibri" panose="020F0502020204030204" pitchFamily="34" charset="0"/>
              </a:rPr>
              <a:t>Boeing</a:t>
            </a:r>
          </a:p>
          <a:p>
            <a:pPr marL="270000" marR="0" lvl="2" indent="-270000" algn="just" defTabSz="914400" rtl="0" eaLnBrk="1" fontAlgn="auto" latinLnBrk="0" hangingPunct="1">
              <a:lnSpc>
                <a:spcPct val="100000"/>
              </a:lnSpc>
              <a:spcBef>
                <a:spcPts val="200"/>
              </a:spcBef>
              <a:spcAft>
                <a:spcPts val="0"/>
              </a:spcAft>
              <a:buClrTx/>
              <a:buSzPct val="100000"/>
              <a:buFontTx/>
              <a:buBlip>
                <a:blip r:embed="rId7"/>
              </a:buBlip>
              <a:tabLst/>
              <a:defRPr/>
            </a:pPr>
            <a:r>
              <a:rPr kumimoji="0" lang="fr-FR" sz="120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rPr>
              <a:t>737 MAX : </a:t>
            </a:r>
            <a:r>
              <a:rPr kumimoji="0" lang="fr-FR" sz="1200" b="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rPr>
              <a:t>Le régulateur chinois CAAC a publié une directive ouvrant la voie à la reprise des vols en Boeing 737 MAX dans le pays, sans toutefois donner de date.</a:t>
            </a:r>
            <a:endParaRPr lang="fr-FR" sz="200" cap="small" dirty="0">
              <a:solidFill>
                <a:schemeClr val="accent2"/>
              </a:solidFill>
              <a:latin typeface="Calibri" panose="020F0502020204030204" pitchFamily="34" charset="0"/>
              <a:cs typeface="Calibri" panose="020F0502020204030204" pitchFamily="34" charset="0"/>
            </a:endParaRPr>
          </a:p>
          <a:p>
            <a:pPr marL="3175" marR="0" lvl="1" indent="0" algn="just" defTabSz="914400" rtl="0" eaLnBrk="1" fontAlgn="auto" latinLnBrk="0" hangingPunct="1">
              <a:lnSpc>
                <a:spcPct val="100000"/>
              </a:lnSpc>
              <a:spcBef>
                <a:spcPts val="200"/>
              </a:spcBef>
              <a:spcAft>
                <a:spcPts val="0"/>
              </a:spcAft>
              <a:buClrTx/>
              <a:buSzTx/>
              <a:buFont typeface="Wingdings" pitchFamily="2" charset="2"/>
              <a:buNone/>
              <a:tabLst/>
              <a:defRPr/>
            </a:pPr>
            <a:r>
              <a:rPr kumimoji="0" lang="fr-FR" sz="1400" b="1" i="0" u="none" strike="noStrike" kern="1200" cap="small" spc="0" normalizeH="0" baseline="0" noProof="0" dirty="0">
                <a:ln>
                  <a:noFill/>
                </a:ln>
                <a:solidFill>
                  <a:srgbClr val="FA6414"/>
                </a:solidFill>
                <a:effectLst/>
                <a:uLnTx/>
                <a:uFillTx/>
                <a:latin typeface="Calibri" panose="020F0502020204030204" pitchFamily="34" charset="0"/>
                <a:ea typeface="+mn-ea"/>
                <a:cs typeface="Calibri" panose="020F0502020204030204" pitchFamily="34" charset="0"/>
              </a:rPr>
              <a:t>Comac</a:t>
            </a:r>
          </a:p>
          <a:p>
            <a:pPr marL="270000" marR="0" lvl="2" indent="-270000" algn="just" defTabSz="914400" rtl="0" eaLnBrk="1" fontAlgn="auto" latinLnBrk="0" hangingPunct="1">
              <a:lnSpc>
                <a:spcPct val="100000"/>
              </a:lnSpc>
              <a:spcBef>
                <a:spcPts val="200"/>
              </a:spcBef>
              <a:spcAft>
                <a:spcPts val="0"/>
              </a:spcAft>
              <a:buClrTx/>
              <a:buSzPct val="100000"/>
              <a:buFontTx/>
              <a:buBlip>
                <a:blip r:embed="rId7"/>
              </a:buBlip>
              <a:tabLst/>
              <a:defRPr/>
            </a:pPr>
            <a:r>
              <a:rPr kumimoji="0" lang="fr-FR" sz="120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rPr>
              <a:t>C919: </a:t>
            </a:r>
            <a:r>
              <a:rPr kumimoji="0" lang="fr-FR" sz="1200" b="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rPr>
              <a:t>fin décembre</a:t>
            </a:r>
            <a:r>
              <a:rPr kumimoji="0" lang="fr-FR" sz="120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rPr>
              <a:t>, </a:t>
            </a:r>
            <a:r>
              <a:rPr kumimoji="0" lang="fr-FR" sz="1200" b="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rPr>
              <a:t>les régulateurs chinois ont confirmé que la certification serait reportée à 2022 </a:t>
            </a:r>
            <a:r>
              <a:rPr lang="fr-FR" sz="1200" b="0" dirty="0">
                <a:solidFill>
                  <a:srgbClr val="1A003B"/>
                </a:solidFill>
                <a:latin typeface="Calibri" panose="020F0502020204030204" pitchFamily="34" charset="0"/>
                <a:cs typeface="Calibri" panose="020F0502020204030204" pitchFamily="34" charset="0"/>
              </a:rPr>
              <a:t>en raison de la faible progression du nombre de vols d’essais à fin 2021</a:t>
            </a:r>
            <a:r>
              <a:rPr kumimoji="0" lang="fr-FR" sz="1200" b="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rPr>
              <a:t>, avec seulement 34 vols effectués sur un minimum de 276. Et, la situation en début d’année ne semble pas s’arranger :  4 des 6 avions de certification sont bloqués dans l’aéroport de </a:t>
            </a:r>
            <a:r>
              <a:rPr kumimoji="0" lang="fr-FR" sz="1200" b="0" i="0" u="none" strike="noStrike" kern="1200" cap="none" spc="0" normalizeH="0" baseline="0" noProof="0" dirty="0" err="1">
                <a:ln>
                  <a:noFill/>
                </a:ln>
                <a:solidFill>
                  <a:srgbClr val="1A003B"/>
                </a:solidFill>
                <a:effectLst/>
                <a:uLnTx/>
                <a:uFillTx/>
                <a:latin typeface="Calibri" panose="020F0502020204030204" pitchFamily="34" charset="0"/>
                <a:ea typeface="+mn-ea"/>
                <a:cs typeface="Calibri" panose="020F0502020204030204" pitchFamily="34" charset="0"/>
              </a:rPr>
              <a:t>X’ian</a:t>
            </a:r>
            <a:r>
              <a:rPr kumimoji="0" lang="fr-FR" sz="1200" b="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rPr>
              <a:t>, en raison de la mise en place d’un confinement général de la ville liée à la reprise des cas de COVID. Désormais, l’obtention de la certification en 2022 semble compromise. </a:t>
            </a:r>
          </a:p>
          <a:p>
            <a:pPr marL="3175" marR="0" lvl="1" indent="0" algn="just" defTabSz="914400" rtl="0" eaLnBrk="1" fontAlgn="auto" latinLnBrk="0" hangingPunct="1">
              <a:lnSpc>
                <a:spcPct val="100000"/>
              </a:lnSpc>
              <a:spcBef>
                <a:spcPts val="200"/>
              </a:spcBef>
              <a:spcAft>
                <a:spcPts val="0"/>
              </a:spcAft>
              <a:buClrTx/>
              <a:buSzTx/>
              <a:buFont typeface="Wingdings" pitchFamily="2" charset="2"/>
              <a:buNone/>
              <a:tabLst/>
              <a:defRPr/>
            </a:pPr>
            <a:r>
              <a:rPr kumimoji="0" lang="fr-FR" sz="1400" b="1" i="0" u="none" strike="noStrike" kern="1200" cap="small" spc="0" normalizeH="0" baseline="0" noProof="0" dirty="0">
                <a:ln>
                  <a:noFill/>
                </a:ln>
                <a:solidFill>
                  <a:srgbClr val="FA6414"/>
                </a:solidFill>
                <a:effectLst/>
                <a:uLnTx/>
                <a:uFillTx/>
                <a:latin typeface="Calibri" panose="020F0502020204030204" pitchFamily="34" charset="0"/>
                <a:ea typeface="+mn-ea"/>
                <a:cs typeface="Calibri" panose="020F0502020204030204" pitchFamily="34" charset="0"/>
              </a:rPr>
              <a:t>Embraer</a:t>
            </a:r>
            <a:endParaRPr kumimoji="0" lang="fr-FR" sz="1200" b="0" i="0" u="none" strike="noStrike" kern="1200" cap="none" spc="0" normalizeH="0" baseline="0" noProof="0" dirty="0">
              <a:ln>
                <a:noFill/>
              </a:ln>
              <a:solidFill>
                <a:srgbClr val="1A003B"/>
              </a:solidFill>
              <a:effectLst/>
              <a:uLnTx/>
              <a:uFillTx/>
              <a:latin typeface="Calibri" panose="020F0502020204030204" pitchFamily="34" charset="0"/>
              <a:ea typeface="+mn-ea"/>
              <a:cs typeface="Calibri" panose="020F0502020204030204" pitchFamily="34" charset="0"/>
            </a:endParaRPr>
          </a:p>
          <a:p>
            <a:pPr marL="270000" marR="0" lvl="2" indent="-270000" algn="just" defTabSz="914400" rtl="0" eaLnBrk="1" fontAlgn="auto" latinLnBrk="0" hangingPunct="1">
              <a:lnSpc>
                <a:spcPct val="100000"/>
              </a:lnSpc>
              <a:spcBef>
                <a:spcPts val="200"/>
              </a:spcBef>
              <a:spcAft>
                <a:spcPts val="0"/>
              </a:spcAft>
              <a:buClrTx/>
              <a:buSzPct val="100000"/>
              <a:buFontTx/>
              <a:buBlip>
                <a:blip r:embed="rId7"/>
              </a:buBlip>
              <a:tabLst/>
              <a:defRPr/>
            </a:pPr>
            <a:r>
              <a:rPr lang="fr-FR" sz="1200" b="0" dirty="0">
                <a:solidFill>
                  <a:srgbClr val="1A003B"/>
                </a:solidFill>
                <a:latin typeface="Calibri" panose="020F0502020204030204" pitchFamily="34" charset="0"/>
                <a:cs typeface="Calibri" panose="020F0502020204030204" pitchFamily="34" charset="0"/>
              </a:rPr>
              <a:t>L’avionneur brésilien a présenté son futur avion turbopropulsé, qui concurrencerait les appareils d’ATR. le nouvel avion serait configuré pour accueillir entre 80 et 100 passagers, avec une entrée en service en 2027. Le concept d’ailes basses déjà utilisé par l’EMB-120 Brasilia serait repris, contrairement à ses deux concurrents ; les moteurs seraient positionnés au dessus de l’aile.</a:t>
            </a:r>
          </a:p>
        </p:txBody>
      </p:sp>
      <p:sp>
        <p:nvSpPr>
          <p:cNvPr id="2" name="ZoneTexte 1">
            <a:extLst>
              <a:ext uri="{FF2B5EF4-FFF2-40B4-BE49-F238E27FC236}">
                <a16:creationId xmlns:a16="http://schemas.microsoft.com/office/drawing/2014/main" id="{6B659271-D2B0-43A6-A615-868AB1F22A09}"/>
              </a:ext>
            </a:extLst>
          </p:cNvPr>
          <p:cNvSpPr txBox="1"/>
          <p:nvPr/>
        </p:nvSpPr>
        <p:spPr>
          <a:xfrm>
            <a:off x="6514424" y="1359314"/>
            <a:ext cx="4957576" cy="338554"/>
          </a:xfrm>
          <a:prstGeom prst="rect">
            <a:avLst/>
          </a:prstGeom>
          <a:noFill/>
        </p:spPr>
        <p:txBody>
          <a:bodyPr wrap="square" rtlCol="0">
            <a:spAutoFit/>
          </a:bodyPr>
          <a:lstStyle/>
          <a:p>
            <a:pPr algn="ctr"/>
            <a:r>
              <a:rPr lang="fr-FR" sz="1600" b="1" cap="small" dirty="0">
                <a:solidFill>
                  <a:schemeClr val="accent2"/>
                </a:solidFill>
              </a:rPr>
              <a:t>Trafic </a:t>
            </a:r>
            <a:r>
              <a:rPr lang="fr-FR" sz="1600" b="1" cap="small" dirty="0" err="1">
                <a:solidFill>
                  <a:schemeClr val="accent2"/>
                </a:solidFill>
              </a:rPr>
              <a:t>Aerien</a:t>
            </a:r>
            <a:endParaRPr lang="fr-FR" sz="1600" b="1" cap="small" dirty="0">
              <a:solidFill>
                <a:schemeClr val="accent2"/>
              </a:solidFill>
            </a:endParaRPr>
          </a:p>
        </p:txBody>
      </p:sp>
      <p:sp>
        <p:nvSpPr>
          <p:cNvPr id="12" name="Espace réservé du texte 17">
            <a:extLst>
              <a:ext uri="{FF2B5EF4-FFF2-40B4-BE49-F238E27FC236}">
                <a16:creationId xmlns:a16="http://schemas.microsoft.com/office/drawing/2014/main" id="{3F548C29-008C-45B6-BEA3-4C0FE9D920FC}"/>
              </a:ext>
            </a:extLst>
          </p:cNvPr>
          <p:cNvSpPr txBox="1">
            <a:spLocks/>
          </p:cNvSpPr>
          <p:nvPr/>
        </p:nvSpPr>
        <p:spPr>
          <a:xfrm>
            <a:off x="6514424" y="1780213"/>
            <a:ext cx="4957576" cy="3477587"/>
          </a:xfrm>
          <a:prstGeom prst="rect">
            <a:avLst/>
          </a:prstGeom>
        </p:spPr>
        <p:txBody>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7"/>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7800" lvl="2" indent="-177800" algn="just">
              <a:spcBef>
                <a:spcPts val="600"/>
              </a:spcBef>
              <a:spcAft>
                <a:spcPts val="600"/>
              </a:spcAft>
            </a:pPr>
            <a:r>
              <a:rPr lang="fr-FR" sz="1200" b="0" dirty="0">
                <a:latin typeface="Calibri" panose="020F0502020204030204" pitchFamily="34" charset="0"/>
                <a:cs typeface="Calibri" panose="020F0502020204030204" pitchFamily="34" charset="0"/>
              </a:rPr>
              <a:t>Après un </a:t>
            </a:r>
            <a:r>
              <a:rPr lang="fr-FR" sz="1200" dirty="0">
                <a:latin typeface="Calibri" panose="020F0502020204030204" pitchFamily="34" charset="0"/>
                <a:cs typeface="Calibri" panose="020F0502020204030204" pitchFamily="34" charset="0"/>
              </a:rPr>
              <a:t>redressement généralisé en octobre </a:t>
            </a:r>
            <a:r>
              <a:rPr lang="fr-FR" sz="1200" b="0" dirty="0">
                <a:latin typeface="Calibri" panose="020F0502020204030204" pitchFamily="34" charset="0"/>
                <a:cs typeface="Calibri" panose="020F0502020204030204" pitchFamily="34" charset="0"/>
              </a:rPr>
              <a:t>(-49,4% vs 2019), l’arrivée du </a:t>
            </a:r>
            <a:r>
              <a:rPr lang="fr-FR" sz="1200" dirty="0">
                <a:latin typeface="Calibri" panose="020F0502020204030204" pitchFamily="34" charset="0"/>
                <a:cs typeface="Calibri" panose="020F0502020204030204" pitchFamily="34" charset="0"/>
              </a:rPr>
              <a:t>variant Omicron a ralenti cette progression </a:t>
            </a:r>
            <a:r>
              <a:rPr lang="fr-FR" sz="1200" b="0" dirty="0">
                <a:latin typeface="Calibri" panose="020F0502020204030204" pitchFamily="34" charset="0"/>
                <a:cs typeface="Calibri" panose="020F0502020204030204" pitchFamily="34" charset="0"/>
              </a:rPr>
              <a:t>fin novembre et décembre</a:t>
            </a:r>
          </a:p>
          <a:p>
            <a:pPr marL="177800" lvl="2" indent="-177800" algn="just">
              <a:spcBef>
                <a:spcPts val="600"/>
              </a:spcBef>
              <a:spcAft>
                <a:spcPts val="600"/>
              </a:spcAft>
            </a:pPr>
            <a:r>
              <a:rPr lang="fr-FR" sz="1200" dirty="0">
                <a:latin typeface="Calibri" panose="020F0502020204030204" pitchFamily="34" charset="0"/>
                <a:cs typeface="Calibri" panose="020F0502020204030204" pitchFamily="34" charset="0"/>
              </a:rPr>
              <a:t>La mise en place de restrictions sanitaires et l’augmentation du nombre de vols annulés retardent de </a:t>
            </a:r>
            <a:r>
              <a:rPr lang="fr-FR" sz="1200">
                <a:latin typeface="Calibri" panose="020F0502020204030204" pitchFamily="34" charset="0"/>
                <a:cs typeface="Calibri" panose="020F0502020204030204" pitchFamily="34" charset="0"/>
              </a:rPr>
              <a:t>quelques mois </a:t>
            </a:r>
            <a:r>
              <a:rPr lang="fr-FR" sz="1200" dirty="0">
                <a:latin typeface="Calibri" panose="020F0502020204030204" pitchFamily="34" charset="0"/>
                <a:cs typeface="Calibri" panose="020F0502020204030204" pitchFamily="34" charset="0"/>
              </a:rPr>
              <a:t>un retour du trafic au niveau de 2019</a:t>
            </a:r>
            <a:r>
              <a:rPr lang="fr-FR" sz="1200" b="0" dirty="0">
                <a:latin typeface="Calibri" panose="020F0502020204030204" pitchFamily="34" charset="0"/>
                <a:cs typeface="Calibri" panose="020F0502020204030204" pitchFamily="34" charset="0"/>
              </a:rPr>
              <a:t>. Toutefois, Les compagnies s’attendent à </a:t>
            </a:r>
            <a:r>
              <a:rPr lang="fr-FR" sz="1200" dirty="0">
                <a:latin typeface="Calibri" panose="020F0502020204030204" pitchFamily="34" charset="0"/>
                <a:cs typeface="Calibri" panose="020F0502020204030204" pitchFamily="34" charset="0"/>
              </a:rPr>
              <a:t>un rebond rapide et durable</a:t>
            </a:r>
            <a:r>
              <a:rPr lang="fr-FR" sz="1200" b="0" dirty="0">
                <a:latin typeface="Calibri" panose="020F0502020204030204" pitchFamily="34" charset="0"/>
                <a:cs typeface="Calibri" panose="020F0502020204030204" pitchFamily="34" charset="0"/>
              </a:rPr>
              <a:t> dès l’amélioration de la situation sanitaire.</a:t>
            </a:r>
          </a:p>
          <a:p>
            <a:pPr marL="177800" lvl="2" indent="-177800" algn="just">
              <a:spcBef>
                <a:spcPts val="600"/>
              </a:spcBef>
              <a:spcAft>
                <a:spcPts val="600"/>
              </a:spcAft>
            </a:pPr>
            <a:r>
              <a:rPr lang="fr-FR" sz="1200" b="0" dirty="0">
                <a:latin typeface="Calibri" panose="020F0502020204030204" pitchFamily="34" charset="0"/>
                <a:cs typeface="Calibri" panose="020F0502020204030204" pitchFamily="34" charset="0"/>
              </a:rPr>
              <a:t>En Europe, </a:t>
            </a:r>
            <a:r>
              <a:rPr lang="fr-FR" sz="1200" dirty="0">
                <a:latin typeface="Calibri" panose="020F0502020204030204" pitchFamily="34" charset="0"/>
                <a:cs typeface="Calibri" panose="020F0502020204030204" pitchFamily="34" charset="0"/>
              </a:rPr>
              <a:t>Eurocontrol table toujours sur une poursuite du redressement en 2022, </a:t>
            </a:r>
            <a:r>
              <a:rPr lang="fr-FR" sz="1200" b="0" dirty="0">
                <a:latin typeface="Calibri" panose="020F0502020204030204" pitchFamily="34" charset="0"/>
                <a:cs typeface="Calibri" panose="020F0502020204030204" pitchFamily="34" charset="0"/>
              </a:rPr>
              <a:t>avec un scénario médian prévoyant un retour à 85% du niveau de trafic de 2019 en mars 2022 et </a:t>
            </a:r>
            <a:r>
              <a:rPr lang="fr-FR" sz="1200" dirty="0">
                <a:latin typeface="Calibri" panose="020F0502020204030204" pitchFamily="34" charset="0"/>
                <a:cs typeface="Calibri" panose="020F0502020204030204" pitchFamily="34" charset="0"/>
              </a:rPr>
              <a:t>un retour à la normale fin 2023, début 2024</a:t>
            </a:r>
          </a:p>
          <a:p>
            <a:pPr marL="177800" lvl="2" indent="-177800" algn="just">
              <a:spcBef>
                <a:spcPts val="600"/>
              </a:spcBef>
              <a:spcAft>
                <a:spcPts val="600"/>
              </a:spcAft>
            </a:pPr>
            <a:r>
              <a:rPr lang="fr-FR" sz="1200" dirty="0">
                <a:latin typeface="Calibri" panose="020F0502020204030204" pitchFamily="34" charset="0"/>
                <a:cs typeface="Calibri" panose="020F0502020204030204" pitchFamily="34" charset="0"/>
              </a:rPr>
              <a:t>En Chine, le trafic aérien sera encore pénalisé en 2022 </a:t>
            </a:r>
            <a:r>
              <a:rPr lang="fr-FR" sz="1200" b="0" dirty="0">
                <a:latin typeface="Calibri" panose="020F0502020204030204" pitchFamily="34" charset="0"/>
                <a:cs typeface="Calibri" panose="020F0502020204030204" pitchFamily="34" charset="0"/>
              </a:rPr>
              <a:t>par la crise sanitaire, le gouvernement chinois poursuivant la politique du « zéro </a:t>
            </a:r>
            <a:r>
              <a:rPr lang="fr-FR" sz="1200" b="0" dirty="0" err="1">
                <a:latin typeface="Calibri" panose="020F0502020204030204" pitchFamily="34" charset="0"/>
                <a:cs typeface="Calibri" panose="020F0502020204030204" pitchFamily="34" charset="0"/>
              </a:rPr>
              <a:t>Covid</a:t>
            </a:r>
            <a:r>
              <a:rPr lang="fr-FR" sz="1200" b="0" dirty="0">
                <a:latin typeface="Calibri" panose="020F0502020204030204" pitchFamily="34" charset="0"/>
                <a:cs typeface="Calibri" panose="020F0502020204030204" pitchFamily="34" charset="0"/>
              </a:rPr>
              <a:t> » afin de maîtriser la pandémie. Il </a:t>
            </a:r>
            <a:r>
              <a:rPr lang="fr-FR" sz="1200" dirty="0">
                <a:latin typeface="Calibri" panose="020F0502020204030204" pitchFamily="34" charset="0"/>
                <a:cs typeface="Calibri" panose="020F0502020204030204" pitchFamily="34" charset="0"/>
              </a:rPr>
              <a:t>vise la période 2023-2025 pour dynamiser le secteur, </a:t>
            </a:r>
            <a:r>
              <a:rPr lang="fr-FR" sz="1200" b="0" dirty="0">
                <a:latin typeface="Calibri" panose="020F0502020204030204" pitchFamily="34" charset="0"/>
                <a:cs typeface="Calibri" panose="020F0502020204030204" pitchFamily="34" charset="0"/>
              </a:rPr>
              <a:t>afin d’augmenter le nombre de ses vols intérieurs et de rétablir ceux du marché international.</a:t>
            </a:r>
            <a:endParaRPr lang="fr-CA" sz="1100" dirty="0">
              <a:latin typeface="Calibri" panose="020F0502020204030204" pitchFamily="34" charset="0"/>
              <a:cs typeface="Calibri" panose="020F0502020204030204" pitchFamily="34" charset="0"/>
            </a:endParaRPr>
          </a:p>
          <a:p>
            <a:pPr marL="623887" lvl="3" algn="just">
              <a:spcBef>
                <a:spcPts val="400"/>
              </a:spcBef>
              <a:buClr>
                <a:srgbClr val="FA6414"/>
              </a:buClr>
              <a:buSzTx/>
            </a:pPr>
            <a:endParaRPr lang="fr-CA" sz="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860292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660FD56-7A4F-47E5-8616-21914FCCBB4D}"/>
              </a:ext>
            </a:extLst>
          </p:cNvPr>
          <p:cNvSpPr>
            <a:spLocks noGrp="1"/>
          </p:cNvSpPr>
          <p:nvPr>
            <p:ph type="title"/>
          </p:nvPr>
        </p:nvSpPr>
        <p:spPr/>
        <p:txBody>
          <a:bodyPr vert="horz"/>
          <a:lstStyle/>
          <a:p>
            <a:r>
              <a:rPr lang="fr-FR" cap="small" dirty="0"/>
              <a:t>Dashboard Trafic Aérien Novembre-Décembre</a:t>
            </a:r>
          </a:p>
        </p:txBody>
      </p:sp>
      <p:sp>
        <p:nvSpPr>
          <p:cNvPr id="6" name="Espace réservé du pied de page 5">
            <a:extLst>
              <a:ext uri="{FF2B5EF4-FFF2-40B4-BE49-F238E27FC236}">
                <a16:creationId xmlns:a16="http://schemas.microsoft.com/office/drawing/2014/main" id="{610CC8E6-A477-4C1F-9258-1E84E759FBB4}"/>
              </a:ext>
            </a:extLst>
          </p:cNvPr>
          <p:cNvSpPr>
            <a:spLocks noGrp="1"/>
          </p:cNvSpPr>
          <p:nvPr>
            <p:ph type="ftr" sz="quarter" idx="15"/>
          </p:nvPr>
        </p:nvSpPr>
        <p:spPr>
          <a:xfrm>
            <a:off x="1149451" y="6347411"/>
            <a:ext cx="4560000" cy="440684"/>
          </a:xfrm>
        </p:spPr>
        <p:txBody>
          <a:bodyPr/>
          <a:lstStyle/>
          <a:p>
            <a:pPr algn="l"/>
            <a:r>
              <a:rPr lang="fr-FR"/>
              <a:t>Dashboard Marché Aéronautique - Nov/Dec 2021</a:t>
            </a:r>
            <a:endParaRPr lang="fr-FR" dirty="0"/>
          </a:p>
        </p:txBody>
      </p:sp>
      <p:sp>
        <p:nvSpPr>
          <p:cNvPr id="7" name="Espace réservé du numéro de diapositive 6">
            <a:extLst>
              <a:ext uri="{FF2B5EF4-FFF2-40B4-BE49-F238E27FC236}">
                <a16:creationId xmlns:a16="http://schemas.microsoft.com/office/drawing/2014/main" id="{40C2ECF1-C101-40BA-B4EF-F194AC4BE985}"/>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3</a:t>
            </a:fld>
            <a:endParaRPr lang="fr-FR" dirty="0"/>
          </a:p>
        </p:txBody>
      </p:sp>
      <p:pic>
        <p:nvPicPr>
          <p:cNvPr id="164" name="Image 31">
            <a:extLst>
              <a:ext uri="{FF2B5EF4-FFF2-40B4-BE49-F238E27FC236}">
                <a16:creationId xmlns:a16="http://schemas.microsoft.com/office/drawing/2014/main" id="{FFB04B5B-5CAF-4185-B796-63B230BDDF0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sp>
        <p:nvSpPr>
          <p:cNvPr id="64" name="Ellipse 63">
            <a:extLst>
              <a:ext uri="{FF2B5EF4-FFF2-40B4-BE49-F238E27FC236}">
                <a16:creationId xmlns:a16="http://schemas.microsoft.com/office/drawing/2014/main" id="{9178FCED-3A7C-426B-AA98-4D270384ACFF}"/>
              </a:ext>
            </a:extLst>
          </p:cNvPr>
          <p:cNvSpPr/>
          <p:nvPr/>
        </p:nvSpPr>
        <p:spPr>
          <a:xfrm>
            <a:off x="263375" y="460109"/>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1</a:t>
            </a:r>
          </a:p>
        </p:txBody>
      </p:sp>
      <p:sp>
        <p:nvSpPr>
          <p:cNvPr id="93" name="ZoneTexte 92">
            <a:extLst>
              <a:ext uri="{FF2B5EF4-FFF2-40B4-BE49-F238E27FC236}">
                <a16:creationId xmlns:a16="http://schemas.microsoft.com/office/drawing/2014/main" id="{5926F622-9C71-4197-AC8E-C94300BA25E0}"/>
              </a:ext>
            </a:extLst>
          </p:cNvPr>
          <p:cNvSpPr txBox="1"/>
          <p:nvPr/>
        </p:nvSpPr>
        <p:spPr>
          <a:xfrm>
            <a:off x="11450687" y="6256797"/>
            <a:ext cx="936000" cy="184666"/>
          </a:xfrm>
          <a:prstGeom prst="rect">
            <a:avLst/>
          </a:prstGeom>
          <a:noFill/>
        </p:spPr>
        <p:txBody>
          <a:bodyPr wrap="square" rtlCol="0">
            <a:spAutoFit/>
          </a:bodyPr>
          <a:lstStyle/>
          <a:p>
            <a:r>
              <a:rPr lang="fr-FR" sz="600" dirty="0">
                <a:solidFill>
                  <a:schemeClr val="tx2"/>
                </a:solidFill>
              </a:rPr>
              <a:t> Source: OAG</a:t>
            </a:r>
          </a:p>
        </p:txBody>
      </p:sp>
      <p:sp>
        <p:nvSpPr>
          <p:cNvPr id="92" name="ZoneTexte 91">
            <a:extLst>
              <a:ext uri="{FF2B5EF4-FFF2-40B4-BE49-F238E27FC236}">
                <a16:creationId xmlns:a16="http://schemas.microsoft.com/office/drawing/2014/main" id="{64114A14-DD21-4B7F-A7D8-A1E595EE094B}"/>
              </a:ext>
            </a:extLst>
          </p:cNvPr>
          <p:cNvSpPr txBox="1"/>
          <p:nvPr/>
        </p:nvSpPr>
        <p:spPr>
          <a:xfrm>
            <a:off x="11142272" y="3520162"/>
            <a:ext cx="1444644" cy="184666"/>
          </a:xfrm>
          <a:prstGeom prst="rect">
            <a:avLst/>
          </a:prstGeom>
          <a:noFill/>
        </p:spPr>
        <p:txBody>
          <a:bodyPr wrap="square" rtlCol="0">
            <a:spAutoFit/>
          </a:bodyPr>
          <a:lstStyle/>
          <a:p>
            <a:r>
              <a:rPr lang="fr-FR" sz="600" dirty="0">
                <a:solidFill>
                  <a:schemeClr val="tx2"/>
                </a:solidFill>
              </a:rPr>
              <a:t> Source: IATA</a:t>
            </a:r>
          </a:p>
        </p:txBody>
      </p:sp>
      <p:sp>
        <p:nvSpPr>
          <p:cNvPr id="122" name="ZoneTexte 121">
            <a:extLst>
              <a:ext uri="{FF2B5EF4-FFF2-40B4-BE49-F238E27FC236}">
                <a16:creationId xmlns:a16="http://schemas.microsoft.com/office/drawing/2014/main" id="{27321596-2308-40B7-9AB8-B4B01299F9B2}"/>
              </a:ext>
            </a:extLst>
          </p:cNvPr>
          <p:cNvSpPr txBox="1"/>
          <p:nvPr/>
        </p:nvSpPr>
        <p:spPr>
          <a:xfrm>
            <a:off x="11358921" y="6279362"/>
            <a:ext cx="1444644" cy="184666"/>
          </a:xfrm>
          <a:prstGeom prst="rect">
            <a:avLst/>
          </a:prstGeom>
          <a:noFill/>
        </p:spPr>
        <p:txBody>
          <a:bodyPr wrap="square" rtlCol="0">
            <a:spAutoFit/>
          </a:bodyPr>
          <a:lstStyle/>
          <a:p>
            <a:r>
              <a:rPr lang="fr-FR" sz="600" dirty="0">
                <a:solidFill>
                  <a:schemeClr val="tx2"/>
                </a:solidFill>
              </a:rPr>
              <a:t> Source: IATA</a:t>
            </a:r>
          </a:p>
        </p:txBody>
      </p:sp>
      <p:pic>
        <p:nvPicPr>
          <p:cNvPr id="42" name="Image 41">
            <a:extLst>
              <a:ext uri="{FF2B5EF4-FFF2-40B4-BE49-F238E27FC236}">
                <a16:creationId xmlns:a16="http://schemas.microsoft.com/office/drawing/2014/main" id="{B2DCE5DF-A766-45E4-8EF2-0BA019B19F22}"/>
              </a:ext>
            </a:extLst>
          </p:cNvPr>
          <p:cNvPicPr>
            <a:picLocks/>
          </p:cNvPicPr>
          <p:nvPr/>
        </p:nvPicPr>
        <p:blipFill rotWithShape="1">
          <a:blip r:embed="rId5"/>
          <a:srcRect l="2155"/>
          <a:stretch/>
        </p:blipFill>
        <p:spPr>
          <a:xfrm>
            <a:off x="46149" y="996537"/>
            <a:ext cx="12098226" cy="5511800"/>
          </a:xfrm>
          <a:prstGeom prst="rect">
            <a:avLst/>
          </a:prstGeom>
        </p:spPr>
      </p:pic>
      <p:sp>
        <p:nvSpPr>
          <p:cNvPr id="43" name="Rectangle 42">
            <a:extLst>
              <a:ext uri="{FF2B5EF4-FFF2-40B4-BE49-F238E27FC236}">
                <a16:creationId xmlns:a16="http://schemas.microsoft.com/office/drawing/2014/main" id="{2F215DB9-A781-4AE0-A695-DA6A91843FB3}"/>
              </a:ext>
            </a:extLst>
          </p:cNvPr>
          <p:cNvSpPr/>
          <p:nvPr/>
        </p:nvSpPr>
        <p:spPr>
          <a:xfrm>
            <a:off x="198108" y="1315121"/>
            <a:ext cx="5875199" cy="1964241"/>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DCE5998A-69A5-4E04-8FA5-F572B464152E}"/>
              </a:ext>
            </a:extLst>
          </p:cNvPr>
          <p:cNvSpPr/>
          <p:nvPr/>
        </p:nvSpPr>
        <p:spPr>
          <a:xfrm>
            <a:off x="200025" y="1029935"/>
            <a:ext cx="5875199"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libri"/>
                <a:ea typeface="+mn-ea"/>
                <a:cs typeface="+mn-cs"/>
              </a:rPr>
              <a:t>Evolution du </a:t>
            </a:r>
            <a:r>
              <a:rPr kumimoji="0" lang="en-US" sz="1400" b="1" i="0" u="none" strike="noStrike" kern="0" cap="none" spc="0" normalizeH="0" baseline="0" noProof="0" dirty="0" err="1">
                <a:ln>
                  <a:noFill/>
                </a:ln>
                <a:solidFill>
                  <a:schemeClr val="bg1"/>
                </a:solidFill>
                <a:effectLst/>
                <a:uLnTx/>
                <a:uFillTx/>
                <a:latin typeface="Calibri"/>
                <a:ea typeface="+mn-ea"/>
                <a:cs typeface="+mn-cs"/>
              </a:rPr>
              <a:t>trafic</a:t>
            </a:r>
            <a:r>
              <a:rPr kumimoji="0" lang="en-US" sz="1400" b="1" i="0" u="none" strike="noStrike" kern="0" cap="none" spc="0" normalizeH="0" baseline="0" noProof="0" dirty="0">
                <a:ln>
                  <a:noFill/>
                </a:ln>
                <a:solidFill>
                  <a:schemeClr val="bg1"/>
                </a:solidFill>
                <a:effectLst/>
                <a:uLnTx/>
                <a:uFillTx/>
                <a:latin typeface="Calibri"/>
                <a:ea typeface="+mn-ea"/>
                <a:cs typeface="+mn-cs"/>
              </a:rPr>
              <a:t> </a:t>
            </a:r>
            <a:r>
              <a:rPr kumimoji="0" lang="en-US" sz="1400" b="1" i="0" u="none" strike="noStrike" kern="0" cap="none" spc="0" normalizeH="0" baseline="0" noProof="0" dirty="0" err="1">
                <a:ln>
                  <a:noFill/>
                </a:ln>
                <a:solidFill>
                  <a:schemeClr val="bg1"/>
                </a:solidFill>
                <a:effectLst/>
                <a:uLnTx/>
                <a:uFillTx/>
                <a:latin typeface="Calibri"/>
                <a:ea typeface="+mn-ea"/>
                <a:cs typeface="+mn-cs"/>
              </a:rPr>
              <a:t>hebdomadaire</a:t>
            </a:r>
            <a:endParaRPr kumimoji="0" lang="en-US" sz="1400" b="1" i="0" u="none" strike="noStrike" kern="0" cap="none" spc="0" normalizeH="0" baseline="0" noProof="0" dirty="0">
              <a:ln>
                <a:noFill/>
              </a:ln>
              <a:solidFill>
                <a:schemeClr val="bg1"/>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FC2B5B9A-E970-44C1-BD0B-F10E00E3F0A7}"/>
              </a:ext>
            </a:extLst>
          </p:cNvPr>
          <p:cNvSpPr/>
          <p:nvPr/>
        </p:nvSpPr>
        <p:spPr>
          <a:xfrm>
            <a:off x="6178546" y="1315119"/>
            <a:ext cx="5815346" cy="226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6" name="Rectangle 45">
            <a:extLst>
              <a:ext uri="{FF2B5EF4-FFF2-40B4-BE49-F238E27FC236}">
                <a16:creationId xmlns:a16="http://schemas.microsoft.com/office/drawing/2014/main" id="{A0BBF65A-0F0C-431E-90A2-E06D8A883414}"/>
              </a:ext>
            </a:extLst>
          </p:cNvPr>
          <p:cNvSpPr/>
          <p:nvPr/>
        </p:nvSpPr>
        <p:spPr>
          <a:xfrm>
            <a:off x="6178546" y="1029935"/>
            <a:ext cx="5821367"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a:ln>
                  <a:noFill/>
                </a:ln>
                <a:solidFill>
                  <a:schemeClr val="bg1"/>
                </a:solidFill>
                <a:effectLst/>
                <a:uLnTx/>
                <a:uFillTx/>
                <a:latin typeface="Calibri"/>
                <a:ea typeface="+mn-ea"/>
                <a:cs typeface="+mn-cs"/>
              </a:rPr>
              <a:t>Flotte</a:t>
            </a:r>
            <a:r>
              <a:rPr kumimoji="0" lang="en-US" sz="1400" b="1" i="0" u="none" strike="noStrike" kern="0" cap="none" spc="0" normalizeH="0" baseline="0" noProof="0" dirty="0">
                <a:ln>
                  <a:noFill/>
                </a:ln>
                <a:solidFill>
                  <a:schemeClr val="bg1"/>
                </a:solidFill>
                <a:effectLst/>
                <a:uLnTx/>
                <a:uFillTx/>
                <a:latin typeface="Calibri"/>
                <a:ea typeface="+mn-ea"/>
                <a:cs typeface="+mn-cs"/>
              </a:rPr>
              <a:t> </a:t>
            </a:r>
            <a:r>
              <a:rPr kumimoji="0" lang="en-US" sz="1400" b="1" i="0" u="none" strike="noStrike" kern="0" cap="none" spc="0" normalizeH="0" baseline="0" noProof="0" dirty="0" err="1">
                <a:ln>
                  <a:noFill/>
                </a:ln>
                <a:solidFill>
                  <a:schemeClr val="bg1"/>
                </a:solidFill>
                <a:effectLst/>
                <a:uLnTx/>
                <a:uFillTx/>
                <a:latin typeface="Calibri"/>
                <a:ea typeface="+mn-ea"/>
                <a:cs typeface="+mn-cs"/>
              </a:rPr>
              <a:t>mondiale</a:t>
            </a:r>
            <a:r>
              <a:rPr kumimoji="0" lang="en-US" sz="1400" b="1" i="0" u="none" strike="noStrike" kern="0" cap="none" spc="0" normalizeH="0" baseline="0" noProof="0" dirty="0">
                <a:ln>
                  <a:noFill/>
                </a:ln>
                <a:solidFill>
                  <a:schemeClr val="bg1"/>
                </a:solidFill>
                <a:effectLst/>
                <a:uLnTx/>
                <a:uFillTx/>
                <a:latin typeface="Calibri"/>
                <a:ea typeface="+mn-ea"/>
                <a:cs typeface="+mn-cs"/>
              </a:rPr>
              <a:t> à </a:t>
            </a:r>
            <a:r>
              <a:rPr kumimoji="0" lang="en-US" sz="1400" b="1" i="0" u="none" strike="noStrike" kern="0" cap="none" spc="0" normalizeH="0" baseline="0" noProof="0" dirty="0" err="1">
                <a:ln>
                  <a:noFill/>
                </a:ln>
                <a:solidFill>
                  <a:schemeClr val="bg1"/>
                </a:solidFill>
                <a:effectLst/>
                <a:uLnTx/>
                <a:uFillTx/>
                <a:latin typeface="Calibri"/>
                <a:ea typeface="+mn-ea"/>
                <a:cs typeface="+mn-cs"/>
              </a:rPr>
              <a:t>l’arrêt</a:t>
            </a:r>
            <a:r>
              <a:rPr kumimoji="0" lang="en-US" sz="1400" b="1" i="0" u="none" strike="noStrike" kern="0" cap="none" spc="0" normalizeH="0" baseline="0" noProof="0" dirty="0">
                <a:ln>
                  <a:noFill/>
                </a:ln>
                <a:solidFill>
                  <a:schemeClr val="bg1"/>
                </a:solidFill>
                <a:effectLst/>
                <a:uLnTx/>
                <a:uFillTx/>
                <a:latin typeface="Calibri"/>
                <a:ea typeface="+mn-ea"/>
                <a:cs typeface="+mn-cs"/>
              </a:rPr>
              <a:t> par type </a:t>
            </a:r>
            <a:r>
              <a:rPr kumimoji="0" lang="en-US" sz="1400" b="1" i="0" u="none" strike="noStrike" kern="0" cap="none" spc="0" normalizeH="0" baseline="0" noProof="0" dirty="0" err="1">
                <a:ln>
                  <a:noFill/>
                </a:ln>
                <a:solidFill>
                  <a:schemeClr val="bg1"/>
                </a:solidFill>
                <a:effectLst/>
                <a:uLnTx/>
                <a:uFillTx/>
                <a:latin typeface="Calibri"/>
                <a:ea typeface="+mn-ea"/>
                <a:cs typeface="+mn-cs"/>
              </a:rPr>
              <a:t>d’avion</a:t>
            </a:r>
            <a:r>
              <a:rPr lang="en-US" sz="1400" b="1" kern="0" dirty="0">
                <a:solidFill>
                  <a:schemeClr val="bg1"/>
                </a:solidFill>
                <a:latin typeface="Calibri"/>
              </a:rPr>
              <a:t>, </a:t>
            </a:r>
            <a:r>
              <a:rPr lang="en-US" sz="1400" b="1" kern="0" dirty="0" err="1">
                <a:solidFill>
                  <a:schemeClr val="bg1"/>
                </a:solidFill>
                <a:latin typeface="Calibri"/>
              </a:rPr>
              <a:t>mensuel</a:t>
            </a:r>
            <a:endParaRPr kumimoji="0" lang="en-US" sz="1400" b="1" i="0" u="none" strike="noStrike" kern="0" cap="none" spc="0" normalizeH="0" baseline="0" noProof="0" dirty="0">
              <a:ln>
                <a:noFill/>
              </a:ln>
              <a:solidFill>
                <a:schemeClr val="bg1"/>
              </a:solidFill>
              <a:effectLst/>
              <a:uLnTx/>
              <a:uFillTx/>
              <a:latin typeface="Calibri"/>
              <a:ea typeface="+mn-ea"/>
              <a:cs typeface="+mn-cs"/>
            </a:endParaRPr>
          </a:p>
        </p:txBody>
      </p:sp>
      <p:sp>
        <p:nvSpPr>
          <p:cNvPr id="47" name="ZoneTexte 46">
            <a:extLst>
              <a:ext uri="{FF2B5EF4-FFF2-40B4-BE49-F238E27FC236}">
                <a16:creationId xmlns:a16="http://schemas.microsoft.com/office/drawing/2014/main" id="{CC111DD5-8B36-479D-BFDD-336C33BE6E8B}"/>
              </a:ext>
            </a:extLst>
          </p:cNvPr>
          <p:cNvSpPr txBox="1"/>
          <p:nvPr/>
        </p:nvSpPr>
        <p:spPr>
          <a:xfrm>
            <a:off x="5404131" y="3099290"/>
            <a:ext cx="1444644" cy="184666"/>
          </a:xfrm>
          <a:prstGeom prst="rect">
            <a:avLst/>
          </a:prstGeom>
          <a:noFill/>
        </p:spPr>
        <p:txBody>
          <a:bodyPr wrap="square" rtlCol="0">
            <a:spAutoFit/>
          </a:bodyPr>
          <a:lstStyle/>
          <a:p>
            <a:r>
              <a:rPr lang="fr-FR" sz="600" dirty="0">
                <a:solidFill>
                  <a:schemeClr val="tx2"/>
                </a:solidFill>
              </a:rPr>
              <a:t> Source: FT24</a:t>
            </a:r>
          </a:p>
        </p:txBody>
      </p:sp>
      <p:sp>
        <p:nvSpPr>
          <p:cNvPr id="48" name="ZoneTexte 47">
            <a:extLst>
              <a:ext uri="{FF2B5EF4-FFF2-40B4-BE49-F238E27FC236}">
                <a16:creationId xmlns:a16="http://schemas.microsoft.com/office/drawing/2014/main" id="{C53D8C9D-A0F4-43CC-8185-7CA90069D6C5}"/>
              </a:ext>
            </a:extLst>
          </p:cNvPr>
          <p:cNvSpPr txBox="1"/>
          <p:nvPr/>
        </p:nvSpPr>
        <p:spPr>
          <a:xfrm>
            <a:off x="5487539" y="6251042"/>
            <a:ext cx="936000" cy="184666"/>
          </a:xfrm>
          <a:prstGeom prst="rect">
            <a:avLst/>
          </a:prstGeom>
          <a:noFill/>
        </p:spPr>
        <p:txBody>
          <a:bodyPr wrap="square" rtlCol="0">
            <a:spAutoFit/>
          </a:bodyPr>
          <a:lstStyle/>
          <a:p>
            <a:r>
              <a:rPr lang="fr-FR" sz="600" dirty="0">
                <a:solidFill>
                  <a:schemeClr val="tx2"/>
                </a:solidFill>
              </a:rPr>
              <a:t> Source: OAG</a:t>
            </a:r>
          </a:p>
        </p:txBody>
      </p:sp>
      <p:sp>
        <p:nvSpPr>
          <p:cNvPr id="49" name="Rectangle 48">
            <a:extLst>
              <a:ext uri="{FF2B5EF4-FFF2-40B4-BE49-F238E27FC236}">
                <a16:creationId xmlns:a16="http://schemas.microsoft.com/office/drawing/2014/main" id="{2CC947B6-18B1-4E60-9BAF-563D3ADC66D8}"/>
              </a:ext>
            </a:extLst>
          </p:cNvPr>
          <p:cNvSpPr/>
          <p:nvPr/>
        </p:nvSpPr>
        <p:spPr>
          <a:xfrm>
            <a:off x="198108" y="3753081"/>
            <a:ext cx="5875199" cy="269327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0" name="Rectangle 49">
            <a:extLst>
              <a:ext uri="{FF2B5EF4-FFF2-40B4-BE49-F238E27FC236}">
                <a16:creationId xmlns:a16="http://schemas.microsoft.com/office/drawing/2014/main" id="{B984A0F2-54E2-4B53-8C6A-685F7B89C6B7}"/>
              </a:ext>
            </a:extLst>
          </p:cNvPr>
          <p:cNvSpPr/>
          <p:nvPr/>
        </p:nvSpPr>
        <p:spPr>
          <a:xfrm>
            <a:off x="216429" y="3413418"/>
            <a:ext cx="5875199"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libri"/>
                <a:ea typeface="+mn-ea"/>
                <a:cs typeface="+mn-cs"/>
              </a:rPr>
              <a:t>Evolution du </a:t>
            </a:r>
            <a:r>
              <a:rPr kumimoji="0" lang="en-US" sz="1400" b="1" i="0" u="none" strike="noStrike" kern="0" cap="none" spc="0" normalizeH="0" baseline="0" noProof="0" dirty="0" err="1">
                <a:ln>
                  <a:noFill/>
                </a:ln>
                <a:solidFill>
                  <a:schemeClr val="bg1"/>
                </a:solidFill>
                <a:effectLst/>
                <a:uLnTx/>
                <a:uFillTx/>
                <a:latin typeface="Calibri"/>
                <a:ea typeface="+mn-ea"/>
                <a:cs typeface="+mn-cs"/>
              </a:rPr>
              <a:t>trafic</a:t>
            </a:r>
            <a:r>
              <a:rPr kumimoji="0" lang="en-US" sz="1400" b="1" i="0" u="none" strike="noStrike" kern="0" cap="none" spc="0" normalizeH="0" baseline="0" noProof="0" dirty="0">
                <a:ln>
                  <a:noFill/>
                </a:ln>
                <a:solidFill>
                  <a:schemeClr val="bg1"/>
                </a:solidFill>
                <a:effectLst/>
                <a:uLnTx/>
                <a:uFillTx/>
                <a:latin typeface="Calibri"/>
                <a:ea typeface="+mn-ea"/>
                <a:cs typeface="+mn-cs"/>
              </a:rPr>
              <a:t> </a:t>
            </a:r>
            <a:r>
              <a:rPr kumimoji="0" lang="en-US" sz="1400" b="1" i="0" u="none" strike="noStrike" kern="0" cap="none" spc="0" normalizeH="0" baseline="0" noProof="0" dirty="0" err="1">
                <a:ln>
                  <a:noFill/>
                </a:ln>
                <a:solidFill>
                  <a:schemeClr val="bg1"/>
                </a:solidFill>
                <a:effectLst/>
                <a:uLnTx/>
                <a:uFillTx/>
                <a:latin typeface="Calibri"/>
                <a:ea typeface="+mn-ea"/>
                <a:cs typeface="+mn-cs"/>
              </a:rPr>
              <a:t>mensuel</a:t>
            </a:r>
            <a:r>
              <a:rPr kumimoji="0" lang="en-US" sz="1400" b="1" i="0" u="none" strike="noStrike" kern="0" cap="none" spc="0" normalizeH="0" baseline="0" noProof="0" dirty="0">
                <a:ln>
                  <a:noFill/>
                </a:ln>
                <a:solidFill>
                  <a:schemeClr val="bg1"/>
                </a:solidFill>
                <a:effectLst/>
                <a:uLnTx/>
                <a:uFillTx/>
                <a:latin typeface="Calibri"/>
                <a:ea typeface="+mn-ea"/>
                <a:cs typeface="+mn-cs"/>
              </a:rPr>
              <a:t> (RPK), YoY</a:t>
            </a:r>
          </a:p>
        </p:txBody>
      </p:sp>
      <p:graphicFrame>
        <p:nvGraphicFramePr>
          <p:cNvPr id="57" name="Graphique 56">
            <a:extLst>
              <a:ext uri="{FF2B5EF4-FFF2-40B4-BE49-F238E27FC236}">
                <a16:creationId xmlns:a16="http://schemas.microsoft.com/office/drawing/2014/main" id="{F44AF439-7F5D-471A-A3D4-B08ECE69CBA8}"/>
              </a:ext>
            </a:extLst>
          </p:cNvPr>
          <p:cNvGraphicFramePr>
            <a:graphicFrameLocks/>
          </p:cNvGraphicFramePr>
          <p:nvPr>
            <p:custDataLst>
              <p:tags r:id="rId1"/>
            </p:custDataLst>
            <p:extLst>
              <p:ext uri="{D42A27DB-BD31-4B8C-83A1-F6EECF244321}">
                <p14:modId xmlns:p14="http://schemas.microsoft.com/office/powerpoint/2010/main" val="138688750"/>
              </p:ext>
            </p:extLst>
          </p:nvPr>
        </p:nvGraphicFramePr>
        <p:xfrm>
          <a:off x="299201" y="1391172"/>
          <a:ext cx="5821367" cy="1916032"/>
        </p:xfrm>
        <a:graphic>
          <a:graphicData uri="http://schemas.openxmlformats.org/drawingml/2006/chart">
            <c:chart xmlns:c="http://schemas.openxmlformats.org/drawingml/2006/chart" xmlns:r="http://schemas.openxmlformats.org/officeDocument/2006/relationships" r:id="rId6"/>
          </a:graphicData>
        </a:graphic>
      </p:graphicFrame>
      <p:sp>
        <p:nvSpPr>
          <p:cNvPr id="53" name="ZoneTexte 52">
            <a:extLst>
              <a:ext uri="{FF2B5EF4-FFF2-40B4-BE49-F238E27FC236}">
                <a16:creationId xmlns:a16="http://schemas.microsoft.com/office/drawing/2014/main" id="{56CA5C19-2633-426F-9A71-81221161B1B5}"/>
              </a:ext>
            </a:extLst>
          </p:cNvPr>
          <p:cNvSpPr txBox="1"/>
          <p:nvPr/>
        </p:nvSpPr>
        <p:spPr>
          <a:xfrm>
            <a:off x="243920" y="3855841"/>
            <a:ext cx="2903412" cy="230832"/>
          </a:xfrm>
          <a:prstGeom prst="rect">
            <a:avLst/>
          </a:prstGeom>
          <a:noFill/>
        </p:spPr>
        <p:txBody>
          <a:bodyPr wrap="square" rtlCol="0">
            <a:spAutoFit/>
          </a:bodyPr>
          <a:lstStyle/>
          <a:p>
            <a:r>
              <a:rPr lang="fr-FR" sz="900" b="1" dirty="0">
                <a:solidFill>
                  <a:schemeClr val="tx2"/>
                </a:solidFill>
                <a:latin typeface="Calibri" panose="020F0502020204030204" pitchFamily="34" charset="0"/>
                <a:cs typeface="Calibri" panose="020F0502020204030204" pitchFamily="34" charset="0"/>
              </a:rPr>
              <a:t>Evolution du trafic international (RPK) </a:t>
            </a:r>
            <a:r>
              <a:rPr lang="fr-FR" sz="900" b="1" dirty="0" err="1">
                <a:solidFill>
                  <a:schemeClr val="tx2"/>
                </a:solidFill>
                <a:latin typeface="Calibri" panose="020F0502020204030204" pitchFamily="34" charset="0"/>
                <a:cs typeface="Calibri" panose="020F0502020204030204" pitchFamily="34" charset="0"/>
              </a:rPr>
              <a:t>YoY</a:t>
            </a:r>
            <a:endParaRPr lang="fr-FR" sz="900" b="1" dirty="0">
              <a:solidFill>
                <a:schemeClr val="tx2"/>
              </a:solidFill>
              <a:latin typeface="Calibri" panose="020F0502020204030204" pitchFamily="34" charset="0"/>
              <a:cs typeface="Calibri" panose="020F0502020204030204" pitchFamily="34" charset="0"/>
            </a:endParaRPr>
          </a:p>
        </p:txBody>
      </p:sp>
      <p:sp>
        <p:nvSpPr>
          <p:cNvPr id="54" name="ZoneTexte 53">
            <a:extLst>
              <a:ext uri="{FF2B5EF4-FFF2-40B4-BE49-F238E27FC236}">
                <a16:creationId xmlns:a16="http://schemas.microsoft.com/office/drawing/2014/main" id="{3968B298-3305-4995-9A59-72A9C467EFFF}"/>
              </a:ext>
            </a:extLst>
          </p:cNvPr>
          <p:cNvSpPr txBox="1"/>
          <p:nvPr/>
        </p:nvSpPr>
        <p:spPr>
          <a:xfrm>
            <a:off x="3277789" y="3855842"/>
            <a:ext cx="2903412" cy="230832"/>
          </a:xfrm>
          <a:prstGeom prst="rect">
            <a:avLst/>
          </a:prstGeom>
          <a:noFill/>
        </p:spPr>
        <p:txBody>
          <a:bodyPr wrap="square" rtlCol="0">
            <a:spAutoFit/>
          </a:bodyPr>
          <a:lstStyle/>
          <a:p>
            <a:r>
              <a:rPr lang="fr-FR" sz="900" b="1" dirty="0">
                <a:solidFill>
                  <a:schemeClr val="tx2"/>
                </a:solidFill>
                <a:latin typeface="Calibri" panose="020F0502020204030204" pitchFamily="34" charset="0"/>
                <a:cs typeface="Calibri" panose="020F0502020204030204" pitchFamily="34" charset="0"/>
              </a:rPr>
              <a:t>Evolution du trafic domestique (RPK) </a:t>
            </a:r>
            <a:r>
              <a:rPr lang="fr-FR" sz="900" b="1" dirty="0" err="1">
                <a:solidFill>
                  <a:schemeClr val="tx2"/>
                </a:solidFill>
                <a:latin typeface="Calibri" panose="020F0502020204030204" pitchFamily="34" charset="0"/>
                <a:cs typeface="Calibri" panose="020F0502020204030204" pitchFamily="34" charset="0"/>
              </a:rPr>
              <a:t>YoY</a:t>
            </a:r>
            <a:endParaRPr lang="fr-FR" sz="900" b="1" dirty="0">
              <a:solidFill>
                <a:schemeClr val="tx2"/>
              </a:solidFill>
              <a:latin typeface="Calibri" panose="020F0502020204030204" pitchFamily="34" charset="0"/>
              <a:cs typeface="Calibri" panose="020F0502020204030204" pitchFamily="34" charset="0"/>
            </a:endParaRPr>
          </a:p>
        </p:txBody>
      </p:sp>
      <p:cxnSp>
        <p:nvCxnSpPr>
          <p:cNvPr id="55" name="Connecteur droit 54">
            <a:extLst>
              <a:ext uri="{FF2B5EF4-FFF2-40B4-BE49-F238E27FC236}">
                <a16:creationId xmlns:a16="http://schemas.microsoft.com/office/drawing/2014/main" id="{FE988EC4-215B-4EFD-B017-C04A25F5E4BC}"/>
              </a:ext>
            </a:extLst>
          </p:cNvPr>
          <p:cNvCxnSpPr/>
          <p:nvPr/>
        </p:nvCxnSpPr>
        <p:spPr>
          <a:xfrm flipV="1">
            <a:off x="298966" y="4082519"/>
            <a:ext cx="273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Connecteur droit 55">
            <a:extLst>
              <a:ext uri="{FF2B5EF4-FFF2-40B4-BE49-F238E27FC236}">
                <a16:creationId xmlns:a16="http://schemas.microsoft.com/office/drawing/2014/main" id="{7D26746A-EED6-4425-95A4-1578EBBB28EC}"/>
              </a:ext>
            </a:extLst>
          </p:cNvPr>
          <p:cNvCxnSpPr/>
          <p:nvPr/>
        </p:nvCxnSpPr>
        <p:spPr>
          <a:xfrm flipV="1">
            <a:off x="3329832" y="4082520"/>
            <a:ext cx="273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79" name="Image 78">
            <a:extLst>
              <a:ext uri="{FF2B5EF4-FFF2-40B4-BE49-F238E27FC236}">
                <a16:creationId xmlns:a16="http://schemas.microsoft.com/office/drawing/2014/main" id="{9763021C-C2DB-419E-B80E-195BE74FAD6E}"/>
              </a:ext>
            </a:extLst>
          </p:cNvPr>
          <p:cNvPicPr>
            <a:picLocks noChangeAspect="1"/>
          </p:cNvPicPr>
          <p:nvPr/>
        </p:nvPicPr>
        <p:blipFill>
          <a:blip r:embed="rId7"/>
          <a:stretch>
            <a:fillRect/>
          </a:stretch>
        </p:blipFill>
        <p:spPr>
          <a:xfrm>
            <a:off x="3034966" y="4298354"/>
            <a:ext cx="3043655" cy="2105702"/>
          </a:xfrm>
          <a:prstGeom prst="rect">
            <a:avLst/>
          </a:prstGeom>
        </p:spPr>
      </p:pic>
      <p:pic>
        <p:nvPicPr>
          <p:cNvPr id="80" name="Image 79">
            <a:extLst>
              <a:ext uri="{FF2B5EF4-FFF2-40B4-BE49-F238E27FC236}">
                <a16:creationId xmlns:a16="http://schemas.microsoft.com/office/drawing/2014/main" id="{FCA51CBB-E411-479D-BC04-F62205751470}"/>
              </a:ext>
            </a:extLst>
          </p:cNvPr>
          <p:cNvPicPr>
            <a:picLocks noChangeAspect="1"/>
          </p:cNvPicPr>
          <p:nvPr/>
        </p:nvPicPr>
        <p:blipFill>
          <a:blip r:embed="rId8"/>
          <a:stretch>
            <a:fillRect/>
          </a:stretch>
        </p:blipFill>
        <p:spPr>
          <a:xfrm>
            <a:off x="227439" y="4286673"/>
            <a:ext cx="2754907" cy="2025930"/>
          </a:xfrm>
          <a:prstGeom prst="rect">
            <a:avLst/>
          </a:prstGeom>
        </p:spPr>
      </p:pic>
      <p:sp>
        <p:nvSpPr>
          <p:cNvPr id="81" name="Rectangle 80">
            <a:extLst>
              <a:ext uri="{FF2B5EF4-FFF2-40B4-BE49-F238E27FC236}">
                <a16:creationId xmlns:a16="http://schemas.microsoft.com/office/drawing/2014/main" id="{14CC7668-9B94-45D6-8EAD-AB31BE93E605}"/>
              </a:ext>
            </a:extLst>
          </p:cNvPr>
          <p:cNvSpPr/>
          <p:nvPr/>
        </p:nvSpPr>
        <p:spPr>
          <a:xfrm>
            <a:off x="6178546" y="3959540"/>
            <a:ext cx="5815346" cy="2437961"/>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pic>
        <p:nvPicPr>
          <p:cNvPr id="82" name="Image 81">
            <a:extLst>
              <a:ext uri="{FF2B5EF4-FFF2-40B4-BE49-F238E27FC236}">
                <a16:creationId xmlns:a16="http://schemas.microsoft.com/office/drawing/2014/main" id="{5A6460C3-4872-4982-A6F1-9B93A3593106}"/>
              </a:ext>
            </a:extLst>
          </p:cNvPr>
          <p:cNvPicPr>
            <a:picLocks noChangeAspect="1"/>
          </p:cNvPicPr>
          <p:nvPr/>
        </p:nvPicPr>
        <p:blipFill rotWithShape="1">
          <a:blip r:embed="rId9"/>
          <a:srcRect t="6182" b="6119"/>
          <a:stretch/>
        </p:blipFill>
        <p:spPr>
          <a:xfrm>
            <a:off x="7333480" y="4113083"/>
            <a:ext cx="3886562" cy="2258612"/>
          </a:xfrm>
          <a:prstGeom prst="rect">
            <a:avLst/>
          </a:prstGeom>
        </p:spPr>
      </p:pic>
      <p:sp>
        <p:nvSpPr>
          <p:cNvPr id="83" name="Rectangle 82">
            <a:extLst>
              <a:ext uri="{FF2B5EF4-FFF2-40B4-BE49-F238E27FC236}">
                <a16:creationId xmlns:a16="http://schemas.microsoft.com/office/drawing/2014/main" id="{92968621-37D2-4BCE-9B0E-F381686BE28F}"/>
              </a:ext>
            </a:extLst>
          </p:cNvPr>
          <p:cNvSpPr/>
          <p:nvPr/>
        </p:nvSpPr>
        <p:spPr>
          <a:xfrm>
            <a:off x="6172525" y="3654174"/>
            <a:ext cx="5821367"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libri"/>
                <a:ea typeface="+mn-ea"/>
                <a:cs typeface="+mn-cs"/>
              </a:rPr>
              <a:t>Evolution des </a:t>
            </a:r>
            <a:r>
              <a:rPr kumimoji="0" lang="en-US" sz="1400" b="1" i="0" u="none" strike="noStrike" kern="0" cap="none" spc="0" normalizeH="0" baseline="0" noProof="0" dirty="0" err="1">
                <a:ln>
                  <a:noFill/>
                </a:ln>
                <a:solidFill>
                  <a:schemeClr val="bg1"/>
                </a:solidFill>
                <a:effectLst/>
                <a:uLnTx/>
                <a:uFillTx/>
                <a:latin typeface="Calibri"/>
                <a:ea typeface="+mn-ea"/>
                <a:cs typeface="+mn-cs"/>
              </a:rPr>
              <a:t>réservations</a:t>
            </a:r>
            <a:r>
              <a:rPr kumimoji="0" lang="en-US" sz="1400" b="1" i="0" u="none" strike="noStrike" kern="0" cap="none" spc="0" normalizeH="0" baseline="0" noProof="0" dirty="0">
                <a:ln>
                  <a:noFill/>
                </a:ln>
                <a:solidFill>
                  <a:schemeClr val="bg1"/>
                </a:solidFill>
                <a:effectLst/>
                <a:uLnTx/>
                <a:uFillTx/>
                <a:latin typeface="Calibri"/>
                <a:ea typeface="+mn-ea"/>
                <a:cs typeface="+mn-cs"/>
              </a:rPr>
              <a:t> vs 2019</a:t>
            </a:r>
          </a:p>
        </p:txBody>
      </p:sp>
      <p:sp>
        <p:nvSpPr>
          <p:cNvPr id="51" name="ZoneTexte 50">
            <a:extLst>
              <a:ext uri="{FF2B5EF4-FFF2-40B4-BE49-F238E27FC236}">
                <a16:creationId xmlns:a16="http://schemas.microsoft.com/office/drawing/2014/main" id="{D01C249D-34D9-486D-98CC-0FA7B3A68DB0}"/>
              </a:ext>
            </a:extLst>
          </p:cNvPr>
          <p:cNvSpPr txBox="1"/>
          <p:nvPr/>
        </p:nvSpPr>
        <p:spPr>
          <a:xfrm>
            <a:off x="5404131" y="6279362"/>
            <a:ext cx="1444644" cy="184666"/>
          </a:xfrm>
          <a:prstGeom prst="rect">
            <a:avLst/>
          </a:prstGeom>
          <a:noFill/>
        </p:spPr>
        <p:txBody>
          <a:bodyPr wrap="square" rtlCol="0">
            <a:spAutoFit/>
          </a:bodyPr>
          <a:lstStyle/>
          <a:p>
            <a:r>
              <a:rPr lang="fr-FR" sz="600" dirty="0">
                <a:solidFill>
                  <a:schemeClr val="tx2"/>
                </a:solidFill>
              </a:rPr>
              <a:t> Source: IATA</a:t>
            </a:r>
          </a:p>
        </p:txBody>
      </p:sp>
      <p:sp>
        <p:nvSpPr>
          <p:cNvPr id="84" name="ZoneTexte 83">
            <a:extLst>
              <a:ext uri="{FF2B5EF4-FFF2-40B4-BE49-F238E27FC236}">
                <a16:creationId xmlns:a16="http://schemas.microsoft.com/office/drawing/2014/main" id="{48AA020A-78EB-43F9-ABBA-AC4C5BD8257D}"/>
              </a:ext>
            </a:extLst>
          </p:cNvPr>
          <p:cNvSpPr txBox="1"/>
          <p:nvPr/>
        </p:nvSpPr>
        <p:spPr>
          <a:xfrm>
            <a:off x="11196365" y="6242621"/>
            <a:ext cx="1444644" cy="184666"/>
          </a:xfrm>
          <a:prstGeom prst="rect">
            <a:avLst/>
          </a:prstGeom>
          <a:noFill/>
        </p:spPr>
        <p:txBody>
          <a:bodyPr wrap="square" rtlCol="0">
            <a:spAutoFit/>
          </a:bodyPr>
          <a:lstStyle/>
          <a:p>
            <a:r>
              <a:rPr lang="fr-FR" sz="600" dirty="0">
                <a:solidFill>
                  <a:schemeClr val="tx2"/>
                </a:solidFill>
              </a:rPr>
              <a:t> Source: IATA</a:t>
            </a:r>
          </a:p>
        </p:txBody>
      </p:sp>
      <p:sp>
        <p:nvSpPr>
          <p:cNvPr id="85" name="ZoneTexte 84">
            <a:extLst>
              <a:ext uri="{FF2B5EF4-FFF2-40B4-BE49-F238E27FC236}">
                <a16:creationId xmlns:a16="http://schemas.microsoft.com/office/drawing/2014/main" id="{BAE9D0E8-AA60-442B-A145-93B8A6F6514C}"/>
              </a:ext>
            </a:extLst>
          </p:cNvPr>
          <p:cNvSpPr txBox="1"/>
          <p:nvPr/>
        </p:nvSpPr>
        <p:spPr>
          <a:xfrm>
            <a:off x="11182834" y="3440793"/>
            <a:ext cx="1444644" cy="184666"/>
          </a:xfrm>
          <a:prstGeom prst="rect">
            <a:avLst/>
          </a:prstGeom>
          <a:noFill/>
        </p:spPr>
        <p:txBody>
          <a:bodyPr wrap="square" rtlCol="0">
            <a:spAutoFit/>
          </a:bodyPr>
          <a:lstStyle/>
          <a:p>
            <a:r>
              <a:rPr lang="fr-FR" sz="600" dirty="0">
                <a:solidFill>
                  <a:schemeClr val="tx2"/>
                </a:solidFill>
              </a:rPr>
              <a:t> Source: </a:t>
            </a:r>
            <a:r>
              <a:rPr lang="fr-FR" sz="600" dirty="0" err="1">
                <a:solidFill>
                  <a:schemeClr val="tx2"/>
                </a:solidFill>
              </a:rPr>
              <a:t>Ch</a:t>
            </a:r>
            <a:r>
              <a:rPr lang="fr-FR" sz="600" dirty="0">
                <a:solidFill>
                  <a:schemeClr val="tx2"/>
                </a:solidFill>
              </a:rPr>
              <a:t>-aviation</a:t>
            </a:r>
          </a:p>
        </p:txBody>
      </p:sp>
      <p:sp>
        <p:nvSpPr>
          <p:cNvPr id="74" name="ZoneTexte 73">
            <a:extLst>
              <a:ext uri="{FF2B5EF4-FFF2-40B4-BE49-F238E27FC236}">
                <a16:creationId xmlns:a16="http://schemas.microsoft.com/office/drawing/2014/main" id="{894B481D-65B1-4119-8FC1-A07A2712B683}"/>
              </a:ext>
            </a:extLst>
          </p:cNvPr>
          <p:cNvSpPr txBox="1"/>
          <p:nvPr/>
        </p:nvSpPr>
        <p:spPr>
          <a:xfrm>
            <a:off x="5767403" y="2753219"/>
            <a:ext cx="382957" cy="230832"/>
          </a:xfrm>
          <a:prstGeom prst="rect">
            <a:avLst/>
          </a:prstGeom>
          <a:noFill/>
        </p:spPr>
        <p:txBody>
          <a:bodyPr wrap="square" rtlCol="0">
            <a:spAutoFit/>
          </a:bodyPr>
          <a:lstStyle/>
          <a:p>
            <a:r>
              <a:rPr lang="fr-FR" sz="900" dirty="0" err="1">
                <a:solidFill>
                  <a:schemeClr val="tx2"/>
                </a:solidFill>
                <a:latin typeface="Calibri" panose="020F0502020204030204" pitchFamily="34" charset="0"/>
                <a:cs typeface="Calibri" panose="020F0502020204030204" pitchFamily="34" charset="0"/>
              </a:rPr>
              <a:t>dec</a:t>
            </a:r>
            <a:endParaRPr lang="fr-FR" sz="900" dirty="0">
              <a:solidFill>
                <a:schemeClr val="tx2"/>
              </a:solidFill>
              <a:latin typeface="Calibri" panose="020F0502020204030204" pitchFamily="34" charset="0"/>
              <a:cs typeface="Calibri" panose="020F0502020204030204" pitchFamily="34" charset="0"/>
            </a:endParaRPr>
          </a:p>
        </p:txBody>
      </p:sp>
      <p:cxnSp>
        <p:nvCxnSpPr>
          <p:cNvPr id="75" name="Connecteur droit avec flèche 74">
            <a:extLst>
              <a:ext uri="{FF2B5EF4-FFF2-40B4-BE49-F238E27FC236}">
                <a16:creationId xmlns:a16="http://schemas.microsoft.com/office/drawing/2014/main" id="{73376ACF-074E-4DC7-8F52-9D573DDE98D6}"/>
              </a:ext>
            </a:extLst>
          </p:cNvPr>
          <p:cNvCxnSpPr>
            <a:cxnSpLocks/>
          </p:cNvCxnSpPr>
          <p:nvPr/>
        </p:nvCxnSpPr>
        <p:spPr>
          <a:xfrm flipH="1">
            <a:off x="5579989" y="1911161"/>
            <a:ext cx="208458" cy="283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eur droit 75">
            <a:extLst>
              <a:ext uri="{FF2B5EF4-FFF2-40B4-BE49-F238E27FC236}">
                <a16:creationId xmlns:a16="http://schemas.microsoft.com/office/drawing/2014/main" id="{EA9439CA-A3D9-4D18-9E96-E6C6E8C2C37D}"/>
              </a:ext>
            </a:extLst>
          </p:cNvPr>
          <p:cNvCxnSpPr/>
          <p:nvPr/>
        </p:nvCxnSpPr>
        <p:spPr>
          <a:xfrm>
            <a:off x="5534255" y="1764827"/>
            <a:ext cx="21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77" name="Ellipse 76">
            <a:extLst>
              <a:ext uri="{FF2B5EF4-FFF2-40B4-BE49-F238E27FC236}">
                <a16:creationId xmlns:a16="http://schemas.microsoft.com/office/drawing/2014/main" id="{1506EE57-ED54-434D-A412-FF7724036FB2}"/>
              </a:ext>
            </a:extLst>
          </p:cNvPr>
          <p:cNvSpPr/>
          <p:nvPr/>
        </p:nvSpPr>
        <p:spPr>
          <a:xfrm>
            <a:off x="5642255" y="1707677"/>
            <a:ext cx="344553" cy="237846"/>
          </a:xfrm>
          <a:prstGeom prst="ellips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accent4"/>
              </a:solidFill>
            </a:endParaRPr>
          </a:p>
        </p:txBody>
      </p:sp>
      <p:sp>
        <p:nvSpPr>
          <p:cNvPr id="78" name="ZoneTexte 77">
            <a:extLst>
              <a:ext uri="{FF2B5EF4-FFF2-40B4-BE49-F238E27FC236}">
                <a16:creationId xmlns:a16="http://schemas.microsoft.com/office/drawing/2014/main" id="{C3928C14-E6AA-4D55-932C-AC1BF2146E9F}"/>
              </a:ext>
            </a:extLst>
          </p:cNvPr>
          <p:cNvSpPr txBox="1"/>
          <p:nvPr/>
        </p:nvSpPr>
        <p:spPr>
          <a:xfrm>
            <a:off x="5413444" y="1701109"/>
            <a:ext cx="802174" cy="246221"/>
          </a:xfrm>
          <a:prstGeom prst="rect">
            <a:avLst/>
          </a:prstGeom>
          <a:noFill/>
        </p:spPr>
        <p:txBody>
          <a:bodyPr wrap="square" rtlCol="0">
            <a:spAutoFit/>
          </a:bodyPr>
          <a:lstStyle/>
          <a:p>
            <a:pPr algn="ctr"/>
            <a:r>
              <a:rPr lang="fr-FR" sz="1000" b="1" dirty="0">
                <a:solidFill>
                  <a:schemeClr val="tx2"/>
                </a:solidFill>
              </a:rPr>
              <a:t>-18%</a:t>
            </a:r>
          </a:p>
        </p:txBody>
      </p:sp>
      <p:sp>
        <p:nvSpPr>
          <p:cNvPr id="60" name="Espace réservé du texte 19">
            <a:extLst>
              <a:ext uri="{FF2B5EF4-FFF2-40B4-BE49-F238E27FC236}">
                <a16:creationId xmlns:a16="http://schemas.microsoft.com/office/drawing/2014/main" id="{43AA6AD5-C0B1-46E6-8E97-EADC0AA34FD6}"/>
              </a:ext>
            </a:extLst>
          </p:cNvPr>
          <p:cNvSpPr txBox="1">
            <a:spLocks/>
          </p:cNvSpPr>
          <p:nvPr/>
        </p:nvSpPr>
        <p:spPr bwMode="gray">
          <a:xfrm>
            <a:off x="6738603" y="2005775"/>
            <a:ext cx="1620000" cy="829737"/>
          </a:xfrm>
          <a:prstGeom prst="rect">
            <a:avLst/>
          </a:prstGeom>
        </p:spPr>
        <p:txBody>
          <a:bodyPr vert="horz" lIns="0" tIns="0" rIns="0" bIns="0" rtlCol="0" anchor="t" anchorCtr="0">
            <a:noAutofit/>
          </a:bodyPr>
          <a:lstStyle>
            <a:lvl1pPr marL="3175" indent="0" algn="l" defTabSz="914400" rtl="0" eaLnBrk="1" latinLnBrk="0" hangingPunct="1">
              <a:lnSpc>
                <a:spcPct val="100000"/>
              </a:lnSpc>
              <a:spcBef>
                <a:spcPts val="0"/>
              </a:spcBef>
              <a:spcAft>
                <a:spcPts val="0"/>
              </a:spcAft>
              <a:buFont typeface="Arial" pitchFamily="34" charset="0"/>
              <a:buNone/>
              <a:defRPr sz="35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10"/>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fr-FR" dirty="0"/>
              <a:t>19%</a:t>
            </a:r>
          </a:p>
          <a:p>
            <a:pPr algn="ctr"/>
            <a:r>
              <a:rPr lang="fr-FR" sz="1100" b="0" i="1" dirty="0"/>
              <a:t>(20% en </a:t>
            </a:r>
            <a:r>
              <a:rPr lang="fr-FR" sz="1100" b="0" i="1" dirty="0" err="1"/>
              <a:t>nov</a:t>
            </a:r>
            <a:r>
              <a:rPr lang="fr-FR" sz="1100" b="0" i="1" dirty="0"/>
              <a:t>)</a:t>
            </a:r>
          </a:p>
        </p:txBody>
      </p:sp>
      <p:sp>
        <p:nvSpPr>
          <p:cNvPr id="61" name="ZoneTexte 60">
            <a:extLst>
              <a:ext uri="{FF2B5EF4-FFF2-40B4-BE49-F238E27FC236}">
                <a16:creationId xmlns:a16="http://schemas.microsoft.com/office/drawing/2014/main" id="{84A9ED51-9150-4B48-8158-DEE73DE24860}"/>
              </a:ext>
            </a:extLst>
          </p:cNvPr>
          <p:cNvSpPr txBox="1"/>
          <p:nvPr/>
        </p:nvSpPr>
        <p:spPr>
          <a:xfrm>
            <a:off x="6084008" y="1629685"/>
            <a:ext cx="2188417" cy="253916"/>
          </a:xfrm>
          <a:prstGeom prst="rect">
            <a:avLst/>
          </a:prstGeom>
          <a:noFill/>
        </p:spPr>
        <p:txBody>
          <a:bodyPr wrap="square" rtlCol="0">
            <a:spAutoFit/>
          </a:bodyPr>
          <a:lstStyle/>
          <a:p>
            <a:pPr algn="ctr"/>
            <a:r>
              <a:rPr lang="fr-FR" sz="1050" b="1" dirty="0">
                <a:solidFill>
                  <a:schemeClr val="tx2"/>
                </a:solidFill>
                <a:latin typeface="Calibri" panose="020F0502020204030204" pitchFamily="34" charset="0"/>
                <a:cs typeface="Calibri" panose="020F0502020204030204" pitchFamily="34" charset="0"/>
              </a:rPr>
              <a:t>% de la flotte mondiale à l’arrêt</a:t>
            </a:r>
          </a:p>
        </p:txBody>
      </p:sp>
      <p:grpSp>
        <p:nvGrpSpPr>
          <p:cNvPr id="5" name="Groupe 4">
            <a:extLst>
              <a:ext uri="{FF2B5EF4-FFF2-40B4-BE49-F238E27FC236}">
                <a16:creationId xmlns:a16="http://schemas.microsoft.com/office/drawing/2014/main" id="{7D0EE908-0CEC-4879-B480-E867F5F4279D}"/>
              </a:ext>
            </a:extLst>
          </p:cNvPr>
          <p:cNvGrpSpPr/>
          <p:nvPr/>
        </p:nvGrpSpPr>
        <p:grpSpPr>
          <a:xfrm>
            <a:off x="6262076" y="2052659"/>
            <a:ext cx="717345" cy="678679"/>
            <a:chOff x="6159286" y="2738536"/>
            <a:chExt cx="717345" cy="678679"/>
          </a:xfrm>
        </p:grpSpPr>
        <p:pic>
          <p:nvPicPr>
            <p:cNvPr id="67" name="Graphique 66" descr="Avion">
              <a:extLst>
                <a:ext uri="{FF2B5EF4-FFF2-40B4-BE49-F238E27FC236}">
                  <a16:creationId xmlns:a16="http://schemas.microsoft.com/office/drawing/2014/main" id="{90B4CC71-7EFA-4B85-9434-A181EE331E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94708" y="2738536"/>
              <a:ext cx="251670" cy="251670"/>
            </a:xfrm>
            <a:prstGeom prst="rect">
              <a:avLst/>
            </a:prstGeom>
          </p:spPr>
        </p:pic>
        <p:pic>
          <p:nvPicPr>
            <p:cNvPr id="68" name="Graphique 67" descr="Avion">
              <a:extLst>
                <a:ext uri="{FF2B5EF4-FFF2-40B4-BE49-F238E27FC236}">
                  <a16:creationId xmlns:a16="http://schemas.microsoft.com/office/drawing/2014/main" id="{8336FEFB-EE19-437A-A563-E19F0428E47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59286" y="2945941"/>
              <a:ext cx="251670" cy="251670"/>
            </a:xfrm>
            <a:prstGeom prst="rect">
              <a:avLst/>
            </a:prstGeom>
          </p:spPr>
        </p:pic>
        <p:pic>
          <p:nvPicPr>
            <p:cNvPr id="69" name="Graphique 68" descr="Avion">
              <a:extLst>
                <a:ext uri="{FF2B5EF4-FFF2-40B4-BE49-F238E27FC236}">
                  <a16:creationId xmlns:a16="http://schemas.microsoft.com/office/drawing/2014/main" id="{4D89137E-31F8-4556-9B51-30B140E356B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24961" y="2945941"/>
              <a:ext cx="251670" cy="251670"/>
            </a:xfrm>
            <a:prstGeom prst="rect">
              <a:avLst/>
            </a:prstGeom>
          </p:spPr>
        </p:pic>
        <p:pic>
          <p:nvPicPr>
            <p:cNvPr id="70" name="Graphique 69" descr="Avion">
              <a:extLst>
                <a:ext uri="{FF2B5EF4-FFF2-40B4-BE49-F238E27FC236}">
                  <a16:creationId xmlns:a16="http://schemas.microsoft.com/office/drawing/2014/main" id="{73043837-54EB-4B78-8CE0-348F2592EE3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94708" y="3165545"/>
              <a:ext cx="251670" cy="251670"/>
            </a:xfrm>
            <a:prstGeom prst="rect">
              <a:avLst/>
            </a:prstGeom>
          </p:spPr>
        </p:pic>
        <p:pic>
          <p:nvPicPr>
            <p:cNvPr id="72" name="Graphique 71" descr="Avion">
              <a:extLst>
                <a:ext uri="{FF2B5EF4-FFF2-40B4-BE49-F238E27FC236}">
                  <a16:creationId xmlns:a16="http://schemas.microsoft.com/office/drawing/2014/main" id="{414DB5BF-9BC4-45B1-817C-945145F662D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24961" y="3165545"/>
              <a:ext cx="251670" cy="251670"/>
            </a:xfrm>
            <a:prstGeom prst="rect">
              <a:avLst/>
            </a:prstGeom>
          </p:spPr>
        </p:pic>
        <p:pic>
          <p:nvPicPr>
            <p:cNvPr id="86" name="Graphique 85" descr="Avion">
              <a:extLst>
                <a:ext uri="{FF2B5EF4-FFF2-40B4-BE49-F238E27FC236}">
                  <a16:creationId xmlns:a16="http://schemas.microsoft.com/office/drawing/2014/main" id="{B73D2F77-1DF0-4A1E-B414-7AD2A465767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59286" y="3165545"/>
              <a:ext cx="251670" cy="251670"/>
            </a:xfrm>
            <a:prstGeom prst="rect">
              <a:avLst/>
            </a:prstGeom>
          </p:spPr>
        </p:pic>
        <p:pic>
          <p:nvPicPr>
            <p:cNvPr id="87" name="Graphique 86" descr="Avion">
              <a:extLst>
                <a:ext uri="{FF2B5EF4-FFF2-40B4-BE49-F238E27FC236}">
                  <a16:creationId xmlns:a16="http://schemas.microsoft.com/office/drawing/2014/main" id="{D8B0D333-E048-4782-A7FA-42D3DCBE988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24961" y="2738536"/>
              <a:ext cx="251670" cy="251670"/>
            </a:xfrm>
            <a:prstGeom prst="rect">
              <a:avLst/>
            </a:prstGeom>
          </p:spPr>
        </p:pic>
        <p:pic>
          <p:nvPicPr>
            <p:cNvPr id="88" name="Graphique 87" descr="Avion">
              <a:extLst>
                <a:ext uri="{FF2B5EF4-FFF2-40B4-BE49-F238E27FC236}">
                  <a16:creationId xmlns:a16="http://schemas.microsoft.com/office/drawing/2014/main" id="{6B205B31-813D-4DCD-B732-204D7739F85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59286" y="2738536"/>
              <a:ext cx="251670" cy="251670"/>
            </a:xfrm>
            <a:prstGeom prst="rect">
              <a:avLst/>
            </a:prstGeom>
          </p:spPr>
        </p:pic>
        <p:pic>
          <p:nvPicPr>
            <p:cNvPr id="89" name="Graphique 88" descr="Avion">
              <a:extLst>
                <a:ext uri="{FF2B5EF4-FFF2-40B4-BE49-F238E27FC236}">
                  <a16:creationId xmlns:a16="http://schemas.microsoft.com/office/drawing/2014/main" id="{7AD59BDB-CC8A-4C4E-8178-BBB8A73011D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94708" y="2945941"/>
              <a:ext cx="251670" cy="251670"/>
            </a:xfrm>
            <a:prstGeom prst="rect">
              <a:avLst/>
            </a:prstGeom>
          </p:spPr>
        </p:pic>
      </p:grpSp>
      <p:graphicFrame>
        <p:nvGraphicFramePr>
          <p:cNvPr id="90" name="Graphique 89">
            <a:extLst>
              <a:ext uri="{FF2B5EF4-FFF2-40B4-BE49-F238E27FC236}">
                <a16:creationId xmlns:a16="http://schemas.microsoft.com/office/drawing/2014/main" id="{D3441E28-3977-45E8-B53B-4DB7D058BBEC}"/>
              </a:ext>
            </a:extLst>
          </p:cNvPr>
          <p:cNvGraphicFramePr>
            <a:graphicFrameLocks/>
          </p:cNvGraphicFramePr>
          <p:nvPr>
            <p:custDataLst>
              <p:tags r:id="rId2"/>
            </p:custDataLst>
            <p:extLst>
              <p:ext uri="{D42A27DB-BD31-4B8C-83A1-F6EECF244321}">
                <p14:modId xmlns:p14="http://schemas.microsoft.com/office/powerpoint/2010/main" val="2387572502"/>
              </p:ext>
            </p:extLst>
          </p:nvPr>
        </p:nvGraphicFramePr>
        <p:xfrm>
          <a:off x="8194173" y="1279217"/>
          <a:ext cx="3871950" cy="2242042"/>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995402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57E14FF0-0B68-4969-BEF0-799A891BCBC3}"/>
              </a:ext>
            </a:extLst>
          </p:cNvPr>
          <p:cNvGraphicFramePr>
            <a:graphicFrameLocks noChangeAspect="1"/>
          </p:cNvGraphicFramePr>
          <p:nvPr>
            <p:custDataLst>
              <p:tags r:id="rId2"/>
            </p:custDataLst>
            <p:extLst>
              <p:ext uri="{D42A27DB-BD31-4B8C-83A1-F6EECF244321}">
                <p14:modId xmlns:p14="http://schemas.microsoft.com/office/powerpoint/2010/main" val="2838652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79" imgW="344" imgH="344" progId="TCLayout.ActiveDocument.1">
                  <p:embed/>
                </p:oleObj>
              </mc:Choice>
              <mc:Fallback>
                <p:oleObj name="Diapositive think-cell" r:id="rId79" imgW="344" imgH="344" progId="TCLayout.ActiveDocument.1">
                  <p:embed/>
                  <p:pic>
                    <p:nvPicPr>
                      <p:cNvPr id="6" name="Objet 5" hidden="1">
                        <a:extLst>
                          <a:ext uri="{FF2B5EF4-FFF2-40B4-BE49-F238E27FC236}">
                            <a16:creationId xmlns:a16="http://schemas.microsoft.com/office/drawing/2014/main" id="{57E14FF0-0B68-4969-BEF0-799A891BCBC3}"/>
                          </a:ext>
                        </a:extLst>
                      </p:cNvPr>
                      <p:cNvPicPr/>
                      <p:nvPr/>
                    </p:nvPicPr>
                    <p:blipFill>
                      <a:blip r:embed="rId8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0A373AB-AD61-4AED-871E-8986A038C3B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pic>
        <p:nvPicPr>
          <p:cNvPr id="628" name="Image 627">
            <a:extLst>
              <a:ext uri="{FF2B5EF4-FFF2-40B4-BE49-F238E27FC236}">
                <a16:creationId xmlns:a16="http://schemas.microsoft.com/office/drawing/2014/main" id="{28B31F95-BE17-4F95-B08B-A75F5988F9D5}"/>
              </a:ext>
            </a:extLst>
          </p:cNvPr>
          <p:cNvPicPr>
            <a:picLocks/>
          </p:cNvPicPr>
          <p:nvPr/>
        </p:nvPicPr>
        <p:blipFill rotWithShape="1">
          <a:blip r:embed="rId81"/>
          <a:srcRect l="2155"/>
          <a:stretch/>
        </p:blipFill>
        <p:spPr>
          <a:xfrm>
            <a:off x="84000" y="975360"/>
            <a:ext cx="12024000" cy="5511310"/>
          </a:xfrm>
          <a:prstGeom prst="rect">
            <a:avLst/>
          </a:prstGeom>
        </p:spPr>
      </p:pic>
      <p:sp>
        <p:nvSpPr>
          <p:cNvPr id="259" name="Rectangle 258">
            <a:extLst>
              <a:ext uri="{FF2B5EF4-FFF2-40B4-BE49-F238E27FC236}">
                <a16:creationId xmlns:a16="http://schemas.microsoft.com/office/drawing/2014/main" id="{23E859CE-D762-473B-A6A4-43916782E141}"/>
              </a:ext>
            </a:extLst>
          </p:cNvPr>
          <p:cNvSpPr/>
          <p:nvPr/>
        </p:nvSpPr>
        <p:spPr>
          <a:xfrm>
            <a:off x="6872286" y="3999379"/>
            <a:ext cx="5148264" cy="242332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1" name="Rectangle 10"/>
          <p:cNvSpPr/>
          <p:nvPr/>
        </p:nvSpPr>
        <p:spPr>
          <a:xfrm>
            <a:off x="6872287" y="1311251"/>
            <a:ext cx="5129213" cy="2353396"/>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0" name="Rectangle 9"/>
          <p:cNvSpPr/>
          <p:nvPr/>
        </p:nvSpPr>
        <p:spPr>
          <a:xfrm>
            <a:off x="158750" y="3999380"/>
            <a:ext cx="2835275" cy="242362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3" name="Rectangle 12"/>
          <p:cNvSpPr/>
          <p:nvPr/>
        </p:nvSpPr>
        <p:spPr>
          <a:xfrm>
            <a:off x="182563" y="1296013"/>
            <a:ext cx="2809875" cy="23749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6" name="Rectangle 15"/>
          <p:cNvSpPr/>
          <p:nvPr/>
        </p:nvSpPr>
        <p:spPr>
          <a:xfrm>
            <a:off x="6891338" y="1035049"/>
            <a:ext cx="5129213"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libri"/>
                <a:ea typeface="+mn-ea"/>
                <a:cs typeface="+mn-cs"/>
              </a:rPr>
              <a:t>Total </a:t>
            </a:r>
            <a:r>
              <a:rPr kumimoji="0" lang="en-US" sz="1400" b="1" i="0" u="none" strike="noStrike" kern="0" cap="none" spc="0" normalizeH="0" baseline="0" noProof="0" dirty="0" err="1">
                <a:ln>
                  <a:noFill/>
                </a:ln>
                <a:solidFill>
                  <a:schemeClr val="bg1"/>
                </a:solidFill>
                <a:effectLst/>
                <a:uLnTx/>
                <a:uFillTx/>
                <a:latin typeface="Calibri"/>
                <a:ea typeface="+mn-ea"/>
                <a:cs typeface="+mn-cs"/>
              </a:rPr>
              <a:t>Commandes</a:t>
            </a:r>
            <a:r>
              <a:rPr kumimoji="0" lang="en-US" sz="1400" b="1" i="0" u="none" strike="noStrike" kern="0" cap="none" spc="0" normalizeH="0" baseline="0" noProof="0" dirty="0">
                <a:ln>
                  <a:noFill/>
                </a:ln>
                <a:solidFill>
                  <a:schemeClr val="bg1"/>
                </a:solidFill>
                <a:effectLst/>
                <a:uLnTx/>
                <a:uFillTx/>
                <a:latin typeface="Calibri"/>
                <a:ea typeface="+mn-ea"/>
                <a:cs typeface="+mn-cs"/>
              </a:rPr>
              <a:t> /Annulations YTD</a:t>
            </a:r>
          </a:p>
        </p:txBody>
      </p:sp>
      <p:sp>
        <p:nvSpPr>
          <p:cNvPr id="17" name="Rectangle 16"/>
          <p:cNvSpPr/>
          <p:nvPr/>
        </p:nvSpPr>
        <p:spPr>
          <a:xfrm>
            <a:off x="200026" y="1019234"/>
            <a:ext cx="2809875" cy="2357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libri"/>
                <a:ea typeface="+mn-ea"/>
                <a:cs typeface="+mn-cs"/>
              </a:rPr>
              <a:t>Chiffres-</a:t>
            </a:r>
            <a:r>
              <a:rPr kumimoji="0" lang="en-US" sz="1400" b="1" i="0" u="none" strike="noStrike" kern="0" cap="none" spc="0" normalizeH="0" baseline="0" noProof="0" dirty="0" err="1">
                <a:ln>
                  <a:noFill/>
                </a:ln>
                <a:solidFill>
                  <a:schemeClr val="bg1"/>
                </a:solidFill>
                <a:effectLst/>
                <a:uLnTx/>
                <a:uFillTx/>
                <a:latin typeface="Calibri"/>
                <a:ea typeface="+mn-ea"/>
                <a:cs typeface="+mn-cs"/>
              </a:rPr>
              <a:t>clés</a:t>
            </a:r>
            <a:endParaRPr kumimoji="0" lang="en-US" sz="1400" b="1" i="0" u="none" strike="noStrike" kern="0" cap="none" spc="0" normalizeH="0" baseline="0" noProof="0" dirty="0">
              <a:ln>
                <a:noFill/>
              </a:ln>
              <a:solidFill>
                <a:schemeClr val="bg1"/>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6C637BB9-5738-4644-B55B-C7F69DDAAE70}"/>
              </a:ext>
            </a:extLst>
          </p:cNvPr>
          <p:cNvSpPr/>
          <p:nvPr/>
        </p:nvSpPr>
        <p:spPr>
          <a:xfrm>
            <a:off x="134800" y="3724391"/>
            <a:ext cx="2833688" cy="2357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1400" b="1" kern="0" dirty="0">
                <a:solidFill>
                  <a:schemeClr val="bg1"/>
                </a:solidFill>
                <a:latin typeface="Calibri"/>
              </a:rPr>
              <a:t>Backlog YTD</a:t>
            </a:r>
          </a:p>
        </p:txBody>
      </p:sp>
      <p:pic>
        <p:nvPicPr>
          <p:cNvPr id="288" name="Image 287">
            <a:extLst>
              <a:ext uri="{FF2B5EF4-FFF2-40B4-BE49-F238E27FC236}">
                <a16:creationId xmlns:a16="http://schemas.microsoft.com/office/drawing/2014/main" id="{E97DC373-C2F1-4407-B1E9-062788795879}"/>
              </a:ext>
            </a:extLst>
          </p:cNvPr>
          <p:cNvPicPr>
            <a:picLocks/>
          </p:cNvPicPr>
          <p:nvPr/>
        </p:nvPicPr>
        <p:blipFill>
          <a:blip r:embed="rId82"/>
          <a:stretch>
            <a:fillRect/>
          </a:stretch>
        </p:blipFill>
        <p:spPr>
          <a:xfrm>
            <a:off x="8224578" y="3226749"/>
            <a:ext cx="684213" cy="455613"/>
          </a:xfrm>
          <a:prstGeom prst="rect">
            <a:avLst/>
          </a:prstGeom>
        </p:spPr>
      </p:pic>
      <p:pic>
        <p:nvPicPr>
          <p:cNvPr id="289" name="Image 288">
            <a:extLst>
              <a:ext uri="{FF2B5EF4-FFF2-40B4-BE49-F238E27FC236}">
                <a16:creationId xmlns:a16="http://schemas.microsoft.com/office/drawing/2014/main" id="{D3A2FE86-7E4C-444A-AF3A-E5EE7E89CA36}"/>
              </a:ext>
            </a:extLst>
          </p:cNvPr>
          <p:cNvPicPr>
            <a:picLocks/>
          </p:cNvPicPr>
          <p:nvPr/>
        </p:nvPicPr>
        <p:blipFill rotWithShape="1">
          <a:blip r:embed="rId83"/>
          <a:srcRect t="63342"/>
          <a:stretch/>
        </p:blipFill>
        <p:spPr>
          <a:xfrm>
            <a:off x="10658667" y="3365997"/>
            <a:ext cx="684213" cy="166688"/>
          </a:xfrm>
          <a:prstGeom prst="rect">
            <a:avLst/>
          </a:prstGeom>
        </p:spPr>
      </p:pic>
      <p:cxnSp>
        <p:nvCxnSpPr>
          <p:cNvPr id="320" name="Connecteur droit 319">
            <a:extLst>
              <a:ext uri="{FF2B5EF4-FFF2-40B4-BE49-F238E27FC236}">
                <a16:creationId xmlns:a16="http://schemas.microsoft.com/office/drawing/2014/main" id="{F605B200-D509-4610-9158-195EB3354579}"/>
              </a:ext>
            </a:extLst>
          </p:cNvPr>
          <p:cNvCxnSpPr>
            <a:cxnSpLocks/>
          </p:cNvCxnSpPr>
          <p:nvPr/>
        </p:nvCxnSpPr>
        <p:spPr>
          <a:xfrm>
            <a:off x="9426573" y="1506451"/>
            <a:ext cx="0" cy="1798638"/>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87" name="Titre 586">
            <a:extLst>
              <a:ext uri="{FF2B5EF4-FFF2-40B4-BE49-F238E27FC236}">
                <a16:creationId xmlns:a16="http://schemas.microsoft.com/office/drawing/2014/main" id="{7FC2D976-FF61-496E-BC30-76433C060A8D}"/>
              </a:ext>
            </a:extLst>
          </p:cNvPr>
          <p:cNvSpPr>
            <a:spLocks noGrp="1"/>
          </p:cNvSpPr>
          <p:nvPr>
            <p:ph type="title"/>
          </p:nvPr>
        </p:nvSpPr>
        <p:spPr/>
        <p:txBody>
          <a:bodyPr vert="horz"/>
          <a:lstStyle/>
          <a:p>
            <a:r>
              <a:rPr lang="fr-FR" cap="small" dirty="0"/>
              <a:t>Dashboard Airbus/Boeing Novembre - Décembre</a:t>
            </a:r>
          </a:p>
        </p:txBody>
      </p:sp>
      <p:sp>
        <p:nvSpPr>
          <p:cNvPr id="18" name="Espace réservé du pied de page 17">
            <a:extLst>
              <a:ext uri="{FF2B5EF4-FFF2-40B4-BE49-F238E27FC236}">
                <a16:creationId xmlns:a16="http://schemas.microsoft.com/office/drawing/2014/main" id="{C818D617-BDA1-4FA4-AD0B-655F50438613}"/>
              </a:ext>
            </a:extLst>
          </p:cNvPr>
          <p:cNvSpPr>
            <a:spLocks noGrp="1"/>
          </p:cNvSpPr>
          <p:nvPr>
            <p:ph type="ftr" sz="quarter" idx="15"/>
          </p:nvPr>
        </p:nvSpPr>
        <p:spPr>
          <a:xfrm>
            <a:off x="1149451" y="6347411"/>
            <a:ext cx="4560000" cy="440684"/>
          </a:xfrm>
        </p:spPr>
        <p:txBody>
          <a:bodyPr/>
          <a:lstStyle/>
          <a:p>
            <a:pPr algn="l"/>
            <a:r>
              <a:rPr lang="fr-FR"/>
              <a:t>Dashboard Marché Aéronautique - Nov/Dec 2021</a:t>
            </a:r>
            <a:endParaRPr lang="fr-FR" dirty="0"/>
          </a:p>
        </p:txBody>
      </p:sp>
      <p:sp>
        <p:nvSpPr>
          <p:cNvPr id="19" name="Espace réservé du numéro de diapositive 18">
            <a:extLst>
              <a:ext uri="{FF2B5EF4-FFF2-40B4-BE49-F238E27FC236}">
                <a16:creationId xmlns:a16="http://schemas.microsoft.com/office/drawing/2014/main" id="{13034FE2-4385-4DCF-B23C-99CE479BC164}"/>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4</a:t>
            </a:fld>
            <a:endParaRPr lang="fr-FR" dirty="0"/>
          </a:p>
        </p:txBody>
      </p:sp>
      <p:pic>
        <p:nvPicPr>
          <p:cNvPr id="163" name="Image 31">
            <a:extLst>
              <a:ext uri="{FF2B5EF4-FFF2-40B4-BE49-F238E27FC236}">
                <a16:creationId xmlns:a16="http://schemas.microsoft.com/office/drawing/2014/main" id="{3BC3DAD2-8ED9-424E-A55E-E1890FE3F429}"/>
              </a:ext>
            </a:extLst>
          </p:cNvPr>
          <p:cNvPicPr>
            <a:picLocks noChangeAspect="1"/>
          </p:cNvPicPr>
          <p:nvPr/>
        </p:nvPicPr>
        <p:blipFill>
          <a:blip r:embed="rId84"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sp>
        <p:nvSpPr>
          <p:cNvPr id="138" name="Ellipse 137">
            <a:extLst>
              <a:ext uri="{FF2B5EF4-FFF2-40B4-BE49-F238E27FC236}">
                <a16:creationId xmlns:a16="http://schemas.microsoft.com/office/drawing/2014/main" id="{D7F57ED2-D42E-4509-B433-A35419661A4D}"/>
              </a:ext>
            </a:extLst>
          </p:cNvPr>
          <p:cNvSpPr/>
          <p:nvPr/>
        </p:nvSpPr>
        <p:spPr>
          <a:xfrm>
            <a:off x="263375" y="460109"/>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2</a:t>
            </a:r>
          </a:p>
        </p:txBody>
      </p:sp>
      <p:sp>
        <p:nvSpPr>
          <p:cNvPr id="188" name="ZoneTexte 187">
            <a:extLst>
              <a:ext uri="{FF2B5EF4-FFF2-40B4-BE49-F238E27FC236}">
                <a16:creationId xmlns:a16="http://schemas.microsoft.com/office/drawing/2014/main" id="{B233AC82-61AF-4922-9585-CDF930F28EA9}"/>
              </a:ext>
            </a:extLst>
          </p:cNvPr>
          <p:cNvSpPr txBox="1"/>
          <p:nvPr/>
        </p:nvSpPr>
        <p:spPr>
          <a:xfrm>
            <a:off x="2042227" y="3480842"/>
            <a:ext cx="1044000" cy="184666"/>
          </a:xfrm>
          <a:prstGeom prst="rect">
            <a:avLst/>
          </a:prstGeom>
          <a:noFill/>
        </p:spPr>
        <p:txBody>
          <a:bodyPr wrap="square" rtlCol="0">
            <a:spAutoFit/>
          </a:bodyPr>
          <a:lstStyle/>
          <a:p>
            <a:r>
              <a:rPr lang="fr-FR" sz="600" dirty="0">
                <a:solidFill>
                  <a:schemeClr val="tx2"/>
                </a:solidFill>
              </a:rPr>
              <a:t> Source : Airbus, Boeing</a:t>
            </a:r>
          </a:p>
        </p:txBody>
      </p:sp>
      <p:cxnSp>
        <p:nvCxnSpPr>
          <p:cNvPr id="236" name="Connecteur droit 235">
            <a:extLst>
              <a:ext uri="{FF2B5EF4-FFF2-40B4-BE49-F238E27FC236}">
                <a16:creationId xmlns:a16="http://schemas.microsoft.com/office/drawing/2014/main" id="{AA1FDE45-0B9D-4D01-B3C9-677FB72BB1FD}"/>
              </a:ext>
            </a:extLst>
          </p:cNvPr>
          <p:cNvCxnSpPr/>
          <p:nvPr>
            <p:custDataLst>
              <p:tags r:id="rId4"/>
            </p:custDataLst>
          </p:nvPr>
        </p:nvCxnSpPr>
        <p:spPr bwMode="auto">
          <a:xfrm>
            <a:off x="7388225" y="5708650"/>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7" name="Connecteur droit 236">
            <a:extLst>
              <a:ext uri="{FF2B5EF4-FFF2-40B4-BE49-F238E27FC236}">
                <a16:creationId xmlns:a16="http://schemas.microsoft.com/office/drawing/2014/main" id="{7465A2B5-A087-41D9-BDCF-605FFF5D9968}"/>
              </a:ext>
            </a:extLst>
          </p:cNvPr>
          <p:cNvCxnSpPr/>
          <p:nvPr>
            <p:custDataLst>
              <p:tags r:id="rId5"/>
            </p:custDataLst>
          </p:nvPr>
        </p:nvCxnSpPr>
        <p:spPr bwMode="auto">
          <a:xfrm>
            <a:off x="7756525" y="4835525"/>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8" name="Connecteur droit 237">
            <a:extLst>
              <a:ext uri="{FF2B5EF4-FFF2-40B4-BE49-F238E27FC236}">
                <a16:creationId xmlns:a16="http://schemas.microsoft.com/office/drawing/2014/main" id="{E9D357AF-B119-44D4-A938-72657FD66F59}"/>
              </a:ext>
            </a:extLst>
          </p:cNvPr>
          <p:cNvCxnSpPr/>
          <p:nvPr>
            <p:custDataLst>
              <p:tags r:id="rId6"/>
            </p:custDataLst>
          </p:nvPr>
        </p:nvCxnSpPr>
        <p:spPr bwMode="auto">
          <a:xfrm>
            <a:off x="8126413" y="4629150"/>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9" name="Connecteur droit 238">
            <a:extLst>
              <a:ext uri="{FF2B5EF4-FFF2-40B4-BE49-F238E27FC236}">
                <a16:creationId xmlns:a16="http://schemas.microsoft.com/office/drawing/2014/main" id="{13F1A2BD-C98E-43DB-8866-363DC24BF961}"/>
              </a:ext>
            </a:extLst>
          </p:cNvPr>
          <p:cNvCxnSpPr/>
          <p:nvPr>
            <p:custDataLst>
              <p:tags r:id="rId7"/>
            </p:custDataLst>
          </p:nvPr>
        </p:nvCxnSpPr>
        <p:spPr bwMode="auto">
          <a:xfrm>
            <a:off x="8494713" y="4371975"/>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0" name="Connecteur droit 239">
            <a:extLst>
              <a:ext uri="{FF2B5EF4-FFF2-40B4-BE49-F238E27FC236}">
                <a16:creationId xmlns:a16="http://schemas.microsoft.com/office/drawing/2014/main" id="{128DD387-22BD-42A3-B808-54C04F58229B}"/>
              </a:ext>
            </a:extLst>
          </p:cNvPr>
          <p:cNvCxnSpPr/>
          <p:nvPr>
            <p:custDataLst>
              <p:tags r:id="rId8"/>
            </p:custDataLst>
          </p:nvPr>
        </p:nvCxnSpPr>
        <p:spPr bwMode="auto">
          <a:xfrm>
            <a:off x="8864600" y="4371975"/>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D42C964-3FB1-4BC5-9068-C1E186698C9E}"/>
              </a:ext>
            </a:extLst>
          </p:cNvPr>
          <p:cNvSpPr/>
          <p:nvPr>
            <p:custDataLst>
              <p:tags r:id="rId9"/>
            </p:custDataLst>
          </p:nvPr>
        </p:nvSpPr>
        <p:spPr bwMode="auto">
          <a:xfrm>
            <a:off x="8658225" y="4368800"/>
            <a:ext cx="206375" cy="6350"/>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299" name="Chart 3">
            <a:extLst>
              <a:ext uri="{FF2B5EF4-FFF2-40B4-BE49-F238E27FC236}">
                <a16:creationId xmlns:a16="http://schemas.microsoft.com/office/drawing/2014/main" id="{2EF13C65-5C1F-4936-A2E6-9CFDB585282E}"/>
              </a:ext>
            </a:extLst>
          </p:cNvPr>
          <p:cNvGraphicFramePr/>
          <p:nvPr>
            <p:custDataLst>
              <p:tags r:id="rId10"/>
            </p:custDataLst>
            <p:extLst>
              <p:ext uri="{D42A27DB-BD31-4B8C-83A1-F6EECF244321}">
                <p14:modId xmlns:p14="http://schemas.microsoft.com/office/powerpoint/2010/main" val="4246102657"/>
              </p:ext>
            </p:extLst>
          </p:nvPr>
        </p:nvGraphicFramePr>
        <p:xfrm>
          <a:off x="7018338" y="4187825"/>
          <a:ext cx="2379662" cy="1776413"/>
        </p:xfrm>
        <a:graphic>
          <a:graphicData uri="http://schemas.openxmlformats.org/drawingml/2006/chart">
            <c:chart xmlns:c="http://schemas.openxmlformats.org/drawingml/2006/chart" xmlns:r="http://schemas.openxmlformats.org/officeDocument/2006/relationships" r:id="rId85"/>
          </a:graphicData>
        </a:graphic>
      </p:graphicFrame>
      <p:sp>
        <p:nvSpPr>
          <p:cNvPr id="244" name="Espace réservé du texte 2">
            <a:extLst>
              <a:ext uri="{FF2B5EF4-FFF2-40B4-BE49-F238E27FC236}">
                <a16:creationId xmlns:a16="http://schemas.microsoft.com/office/drawing/2014/main" id="{44704398-683D-48B0-AC44-89855D366DAB}"/>
              </a:ext>
            </a:extLst>
          </p:cNvPr>
          <p:cNvSpPr>
            <a:spLocks noGrp="1"/>
          </p:cNvSpPr>
          <p:nvPr>
            <p:custDataLst>
              <p:tags r:id="rId11"/>
            </p:custDataLst>
          </p:nvPr>
        </p:nvSpPr>
        <p:spPr bwMode="auto">
          <a:xfrm>
            <a:off x="7159625" y="5919788"/>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78CC3E5A-60DC-4D01-941B-0D1EE24E4FB8}" type="datetime'''''''''''A''''''''''''''''''''''''''2''''''''''''''2''0'''">
              <a:rPr lang="fr-FR" altLang="en-US" sz="900" smtClean="0">
                <a:latin typeface="Calibri" panose="020F0502020204030204" pitchFamily="34" charset="0"/>
                <a:cs typeface="Calibri" panose="020F0502020204030204" pitchFamily="34" charset="0"/>
                <a:sym typeface="Calibri" panose="020F0502020204030204" pitchFamily="34" charset="0"/>
              </a:rPr>
              <a:pPr/>
              <a:t>A22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21" name="Espace réservé du texte 2">
            <a:extLst>
              <a:ext uri="{FF2B5EF4-FFF2-40B4-BE49-F238E27FC236}">
                <a16:creationId xmlns:a16="http://schemas.microsoft.com/office/drawing/2014/main" id="{24A04A89-1568-403D-97E2-65DAF015C362}"/>
              </a:ext>
            </a:extLst>
          </p:cNvPr>
          <p:cNvSpPr>
            <a:spLocks noGrp="1"/>
          </p:cNvSpPr>
          <p:nvPr>
            <p:custDataLst>
              <p:tags r:id="rId12"/>
            </p:custDataLst>
          </p:nvPr>
        </p:nvSpPr>
        <p:spPr bwMode="auto">
          <a:xfrm>
            <a:off x="7897813" y="5919788"/>
            <a:ext cx="2508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3F768BDB-0BDE-49E4-AC8D-36F36712D329}" type="datetime'''''''''A3''''''30 ''''F''''''a''''''''''''''m'''''''">
              <a:rPr lang="fr-FR" altLang="en-US" sz="900" smtClean="0">
                <a:latin typeface="Calibri" panose="020F0502020204030204" pitchFamily="34" charset="0"/>
                <a:cs typeface="Calibri" panose="020F0502020204030204" pitchFamily="34" charset="0"/>
                <a:sym typeface="Calibri" panose="020F0502020204030204" pitchFamily="34" charset="0"/>
              </a:rPr>
              <a:pPr/>
              <a:t>A330 Fa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18" name="Espace réservé du texte 2">
            <a:extLst>
              <a:ext uri="{FF2B5EF4-FFF2-40B4-BE49-F238E27FC236}">
                <a16:creationId xmlns:a16="http://schemas.microsoft.com/office/drawing/2014/main" id="{3FD2B578-1CA5-4839-9017-7E3EC6256711}"/>
              </a:ext>
            </a:extLst>
          </p:cNvPr>
          <p:cNvSpPr>
            <a:spLocks noGrp="1"/>
          </p:cNvSpPr>
          <p:nvPr>
            <p:custDataLst>
              <p:tags r:id="rId13"/>
            </p:custDataLst>
          </p:nvPr>
        </p:nvSpPr>
        <p:spPr bwMode="auto">
          <a:xfrm>
            <a:off x="7527925" y="5919788"/>
            <a:ext cx="2508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0ADBB20A-7610-4CCE-B70B-D9940AA51AC8}" type="datetime'A''''''''''''''''32''''''''''0'''' ''F''''''am'">
              <a:rPr lang="fr-FR" altLang="en-US" sz="900" smtClean="0">
                <a:latin typeface="Calibri" panose="020F0502020204030204" pitchFamily="34" charset="0"/>
                <a:cs typeface="Calibri" panose="020F0502020204030204" pitchFamily="34" charset="0"/>
                <a:sym typeface="Calibri" panose="020F0502020204030204" pitchFamily="34" charset="0"/>
              </a:rPr>
              <a:pPr/>
              <a:t>A320 Fa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23" name="Espace réservé du texte 2">
            <a:extLst>
              <a:ext uri="{FF2B5EF4-FFF2-40B4-BE49-F238E27FC236}">
                <a16:creationId xmlns:a16="http://schemas.microsoft.com/office/drawing/2014/main" id="{5FAD09DC-1BCC-466C-A83F-7F46577C368B}"/>
              </a:ext>
            </a:extLst>
          </p:cNvPr>
          <p:cNvSpPr>
            <a:spLocks noGrp="1"/>
          </p:cNvSpPr>
          <p:nvPr>
            <p:custDataLst>
              <p:tags r:id="rId14"/>
            </p:custDataLst>
          </p:nvPr>
        </p:nvSpPr>
        <p:spPr bwMode="auto">
          <a:xfrm>
            <a:off x="8266113" y="5919788"/>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09D13CDA-7B25-4EC3-843A-692F22FEE75C}" type="datetime'''''''''''''''''''''''''''''''A3''''''''''''''5''''0'">
              <a:rPr lang="fr-FR" altLang="en-US" sz="900" smtClean="0">
                <a:latin typeface="Calibri" panose="020F0502020204030204" pitchFamily="34" charset="0"/>
                <a:cs typeface="Calibri" panose="020F0502020204030204" pitchFamily="34" charset="0"/>
                <a:sym typeface="Calibri" panose="020F0502020204030204" pitchFamily="34" charset="0"/>
              </a:rPr>
              <a:pPr/>
              <a:t>A35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25" name="Espace réservé du texte 2">
            <a:extLst>
              <a:ext uri="{FF2B5EF4-FFF2-40B4-BE49-F238E27FC236}">
                <a16:creationId xmlns:a16="http://schemas.microsoft.com/office/drawing/2014/main" id="{9AC11AB8-6836-4499-9807-52E88DB1F8D9}"/>
              </a:ext>
            </a:extLst>
          </p:cNvPr>
          <p:cNvSpPr>
            <a:spLocks noGrp="1"/>
          </p:cNvSpPr>
          <p:nvPr>
            <p:custDataLst>
              <p:tags r:id="rId15"/>
            </p:custDataLst>
          </p:nvPr>
        </p:nvSpPr>
        <p:spPr bwMode="auto">
          <a:xfrm>
            <a:off x="8636000" y="5919788"/>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E42C06D8-7C8F-4906-B7A6-2B586835D758}" type="datetime'A''''3''''''''''''''''8''''''''''''''0'''''''''''">
              <a:rPr lang="fr-FR" altLang="en-US" sz="900" smtClean="0">
                <a:latin typeface="Calibri" panose="020F0502020204030204" pitchFamily="34" charset="0"/>
                <a:cs typeface="Calibri" panose="020F0502020204030204" pitchFamily="34" charset="0"/>
                <a:sym typeface="Calibri" panose="020F0502020204030204" pitchFamily="34" charset="0"/>
              </a:rPr>
              <a:pPr/>
              <a:t>A38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50" name="Espace réservé du texte 2">
            <a:extLst>
              <a:ext uri="{FF2B5EF4-FFF2-40B4-BE49-F238E27FC236}">
                <a16:creationId xmlns:a16="http://schemas.microsoft.com/office/drawing/2014/main" id="{310F3317-B6FE-436B-A317-50F2F752A604}"/>
              </a:ext>
            </a:extLst>
          </p:cNvPr>
          <p:cNvSpPr>
            <a:spLocks noGrp="1"/>
          </p:cNvSpPr>
          <p:nvPr>
            <p:custDataLst>
              <p:tags r:id="rId16"/>
            </p:custDataLst>
          </p:nvPr>
        </p:nvSpPr>
        <p:spPr bwMode="auto">
          <a:xfrm>
            <a:off x="9001125" y="5919788"/>
            <a:ext cx="2571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DB37910B-B3DF-4DE9-90E3-3B9CF516CD99}" type="datetime'''To''''''''''''''''''t''''''''''''''a''''''''l'">
              <a:rPr lang="fr-FR" altLang="en-US" sz="900" b="1" smtClean="0">
                <a:latin typeface="Calibri" panose="020F0502020204030204" pitchFamily="34" charset="0"/>
                <a:cs typeface="Calibri" panose="020F0502020204030204" pitchFamily="34" charset="0"/>
                <a:sym typeface="Calibri" panose="020F0502020204030204" pitchFamily="34" charset="0"/>
              </a:rPr>
              <a:pPr/>
              <a:t>Total</a:t>
            </a:fld>
            <a:endParaRPr lang="fr-FR" sz="900" b="1" noProof="0" dirty="0">
              <a:latin typeface="Calibri" panose="020F0502020204030204" pitchFamily="34" charset="0"/>
              <a:cs typeface="Calibri" panose="020F0502020204030204" pitchFamily="34" charset="0"/>
              <a:sym typeface="Calibri" panose="020F0502020204030204" pitchFamily="34" charset="0"/>
            </a:endParaRPr>
          </a:p>
        </p:txBody>
      </p:sp>
      <p:cxnSp>
        <p:nvCxnSpPr>
          <p:cNvPr id="258" name="Connecteur droit 257">
            <a:extLst>
              <a:ext uri="{FF2B5EF4-FFF2-40B4-BE49-F238E27FC236}">
                <a16:creationId xmlns:a16="http://schemas.microsoft.com/office/drawing/2014/main" id="{E8E7019A-5327-4CE4-BFA7-3C388DC4E25E}"/>
              </a:ext>
            </a:extLst>
          </p:cNvPr>
          <p:cNvCxnSpPr>
            <a:cxnSpLocks/>
          </p:cNvCxnSpPr>
          <p:nvPr/>
        </p:nvCxnSpPr>
        <p:spPr>
          <a:xfrm>
            <a:off x="9474200" y="4297363"/>
            <a:ext cx="0" cy="1800225"/>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6722C45A-27DD-4C98-B534-7A0593FA8238}"/>
              </a:ext>
            </a:extLst>
          </p:cNvPr>
          <p:cNvSpPr/>
          <p:nvPr/>
        </p:nvSpPr>
        <p:spPr>
          <a:xfrm>
            <a:off x="3074988" y="1300137"/>
            <a:ext cx="3743323" cy="513238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5" name="Rectangle 144">
            <a:extLst>
              <a:ext uri="{FF2B5EF4-FFF2-40B4-BE49-F238E27FC236}">
                <a16:creationId xmlns:a16="http://schemas.microsoft.com/office/drawing/2014/main" id="{38454F27-009D-49D5-824E-8B8829526155}"/>
              </a:ext>
            </a:extLst>
          </p:cNvPr>
          <p:cNvSpPr/>
          <p:nvPr/>
        </p:nvSpPr>
        <p:spPr>
          <a:xfrm>
            <a:off x="3086227" y="1028700"/>
            <a:ext cx="3751136"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libri"/>
                <a:ea typeface="+mn-ea"/>
                <a:cs typeface="+mn-cs"/>
              </a:rPr>
              <a:t>Total Livraisons</a:t>
            </a:r>
          </a:p>
        </p:txBody>
      </p:sp>
      <p:graphicFrame>
        <p:nvGraphicFramePr>
          <p:cNvPr id="298" name="Chart 3">
            <a:extLst>
              <a:ext uri="{FF2B5EF4-FFF2-40B4-BE49-F238E27FC236}">
                <a16:creationId xmlns:a16="http://schemas.microsoft.com/office/drawing/2014/main" id="{4F57DD76-65BE-40D3-81A7-6F8E9B4004A6}"/>
              </a:ext>
            </a:extLst>
          </p:cNvPr>
          <p:cNvGraphicFramePr/>
          <p:nvPr>
            <p:custDataLst>
              <p:tags r:id="rId17"/>
            </p:custDataLst>
            <p:extLst>
              <p:ext uri="{D42A27DB-BD31-4B8C-83A1-F6EECF244321}">
                <p14:modId xmlns:p14="http://schemas.microsoft.com/office/powerpoint/2010/main" val="3931994958"/>
              </p:ext>
            </p:extLst>
          </p:nvPr>
        </p:nvGraphicFramePr>
        <p:xfrm>
          <a:off x="3098800" y="1671638"/>
          <a:ext cx="3676650" cy="1787525"/>
        </p:xfrm>
        <a:graphic>
          <a:graphicData uri="http://schemas.openxmlformats.org/drawingml/2006/chart">
            <c:chart xmlns:c="http://schemas.openxmlformats.org/drawingml/2006/chart" xmlns:r="http://schemas.openxmlformats.org/officeDocument/2006/relationships" r:id="rId87"/>
          </a:graphicData>
        </a:graphic>
      </p:graphicFrame>
      <p:sp>
        <p:nvSpPr>
          <p:cNvPr id="162" name="Espace réservé du texte 2">
            <a:extLst>
              <a:ext uri="{FF2B5EF4-FFF2-40B4-BE49-F238E27FC236}">
                <a16:creationId xmlns:a16="http://schemas.microsoft.com/office/drawing/2014/main" id="{5CA29E31-9C27-47C4-87D8-9254DF9F739D}"/>
              </a:ext>
            </a:extLst>
          </p:cNvPr>
          <p:cNvSpPr>
            <a:spLocks noGrp="1"/>
          </p:cNvSpPr>
          <p:nvPr>
            <p:custDataLst>
              <p:tags r:id="rId18"/>
            </p:custDataLst>
          </p:nvPr>
        </p:nvSpPr>
        <p:spPr bwMode="auto">
          <a:xfrm>
            <a:off x="4234746" y="3406775"/>
            <a:ext cx="825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sym typeface="Calibri" panose="020F0502020204030204" pitchFamily="34" charset="0"/>
              </a:rPr>
              <a:t>M</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9" name="Espace réservé du texte 2">
            <a:extLst>
              <a:ext uri="{FF2B5EF4-FFF2-40B4-BE49-F238E27FC236}">
                <a16:creationId xmlns:a16="http://schemas.microsoft.com/office/drawing/2014/main" id="{93D26106-91A6-4BA4-92EB-AC4980D93D44}"/>
              </a:ext>
            </a:extLst>
          </p:cNvPr>
          <p:cNvSpPr>
            <a:spLocks noGrp="1"/>
          </p:cNvSpPr>
          <p:nvPr>
            <p:custDataLst>
              <p:tags r:id="rId19"/>
            </p:custDataLst>
          </p:nvPr>
        </p:nvSpPr>
        <p:spPr bwMode="auto">
          <a:xfrm>
            <a:off x="5833538" y="3406775"/>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S</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79" name="Espace réservé du texte 2">
            <a:extLst>
              <a:ext uri="{FF2B5EF4-FFF2-40B4-BE49-F238E27FC236}">
                <a16:creationId xmlns:a16="http://schemas.microsoft.com/office/drawing/2014/main" id="{8837CD83-9A90-4F1F-9C41-A9D386AE81A8}"/>
              </a:ext>
            </a:extLst>
          </p:cNvPr>
          <p:cNvSpPr>
            <a:spLocks noGrp="1"/>
          </p:cNvSpPr>
          <p:nvPr>
            <p:custDataLst>
              <p:tags r:id="rId20"/>
            </p:custDataLst>
          </p:nvPr>
        </p:nvSpPr>
        <p:spPr bwMode="auto">
          <a:xfrm>
            <a:off x="3444875" y="3406776"/>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sym typeface="Calibri" panose="020F0502020204030204" pitchFamily="34" charset="0"/>
              </a:rPr>
              <a:t>D</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80" name="Espace réservé du texte 2">
            <a:extLst>
              <a:ext uri="{FF2B5EF4-FFF2-40B4-BE49-F238E27FC236}">
                <a16:creationId xmlns:a16="http://schemas.microsoft.com/office/drawing/2014/main" id="{1F37C3BB-E3C2-482F-B5B4-7024EAC582E6}"/>
              </a:ext>
            </a:extLst>
          </p:cNvPr>
          <p:cNvSpPr>
            <a:spLocks noGrp="1"/>
          </p:cNvSpPr>
          <p:nvPr>
            <p:custDataLst>
              <p:tags r:id="rId21"/>
            </p:custDataLst>
          </p:nvPr>
        </p:nvSpPr>
        <p:spPr bwMode="auto">
          <a:xfrm>
            <a:off x="3693349" y="3406776"/>
            <a:ext cx="889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sym typeface="Calibri" panose="020F0502020204030204" pitchFamily="34" charset="0"/>
              </a:rPr>
              <a:t>J</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81" name="Espace réservé du texte 2">
            <a:extLst>
              <a:ext uri="{FF2B5EF4-FFF2-40B4-BE49-F238E27FC236}">
                <a16:creationId xmlns:a16="http://schemas.microsoft.com/office/drawing/2014/main" id="{51768A0B-0C85-4FAE-9D46-00462015D554}"/>
              </a:ext>
            </a:extLst>
          </p:cNvPr>
          <p:cNvSpPr>
            <a:spLocks noGrp="1"/>
          </p:cNvSpPr>
          <p:nvPr>
            <p:custDataLst>
              <p:tags r:id="rId22"/>
            </p:custDataLst>
          </p:nvPr>
        </p:nvSpPr>
        <p:spPr bwMode="auto">
          <a:xfrm>
            <a:off x="3965635" y="3406776"/>
            <a:ext cx="85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sym typeface="Calibri" panose="020F0502020204030204" pitchFamily="34" charset="0"/>
              </a:rPr>
              <a:t>F</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7" name="Espace réservé du texte 2">
            <a:extLst>
              <a:ext uri="{FF2B5EF4-FFF2-40B4-BE49-F238E27FC236}">
                <a16:creationId xmlns:a16="http://schemas.microsoft.com/office/drawing/2014/main" id="{1EE0F536-1CDA-4CA8-B758-F9EB93AD4D7E}"/>
              </a:ext>
            </a:extLst>
          </p:cNvPr>
          <p:cNvSpPr>
            <a:spLocks noGrp="1"/>
          </p:cNvSpPr>
          <p:nvPr>
            <p:custDataLst>
              <p:tags r:id="rId23"/>
            </p:custDataLst>
          </p:nvPr>
        </p:nvSpPr>
        <p:spPr bwMode="auto">
          <a:xfrm>
            <a:off x="4500682" y="3406775"/>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A</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4" name="Espace réservé du texte 2">
            <a:extLst>
              <a:ext uri="{FF2B5EF4-FFF2-40B4-BE49-F238E27FC236}">
                <a16:creationId xmlns:a16="http://schemas.microsoft.com/office/drawing/2014/main" id="{7B64E7BF-CF59-4648-94EB-7A74AD3D5C0D}"/>
              </a:ext>
            </a:extLst>
          </p:cNvPr>
          <p:cNvSpPr>
            <a:spLocks noGrp="1"/>
          </p:cNvSpPr>
          <p:nvPr>
            <p:custDataLst>
              <p:tags r:id="rId24"/>
            </p:custDataLst>
          </p:nvPr>
        </p:nvSpPr>
        <p:spPr bwMode="auto">
          <a:xfrm>
            <a:off x="4733281" y="3406775"/>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M</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99" name="Espace réservé du texte 2">
            <a:extLst>
              <a:ext uri="{FF2B5EF4-FFF2-40B4-BE49-F238E27FC236}">
                <a16:creationId xmlns:a16="http://schemas.microsoft.com/office/drawing/2014/main" id="{D12FEA10-F966-47C4-B7BA-75D9F21C8E56}"/>
              </a:ext>
            </a:extLst>
          </p:cNvPr>
          <p:cNvSpPr>
            <a:spLocks noGrp="1"/>
          </p:cNvSpPr>
          <p:nvPr>
            <p:custDataLst>
              <p:tags r:id="rId25"/>
            </p:custDataLst>
          </p:nvPr>
        </p:nvSpPr>
        <p:spPr bwMode="auto">
          <a:xfrm>
            <a:off x="4981755" y="3406775"/>
            <a:ext cx="1111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J</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56" name="Espace réservé du texte 2">
            <a:extLst>
              <a:ext uri="{FF2B5EF4-FFF2-40B4-BE49-F238E27FC236}">
                <a16:creationId xmlns:a16="http://schemas.microsoft.com/office/drawing/2014/main" id="{FFB1ADF8-FC39-450E-8713-51E84E19C50B}"/>
              </a:ext>
            </a:extLst>
          </p:cNvPr>
          <p:cNvSpPr>
            <a:spLocks noGrp="1"/>
          </p:cNvSpPr>
          <p:nvPr>
            <p:custDataLst>
              <p:tags r:id="rId26"/>
            </p:custDataLst>
          </p:nvPr>
        </p:nvSpPr>
        <p:spPr bwMode="auto">
          <a:xfrm>
            <a:off x="5276266" y="3406775"/>
            <a:ext cx="793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J</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8" name="Espace réservé du texte 2">
            <a:extLst>
              <a:ext uri="{FF2B5EF4-FFF2-40B4-BE49-F238E27FC236}">
                <a16:creationId xmlns:a16="http://schemas.microsoft.com/office/drawing/2014/main" id="{256E1423-A209-48D4-AFF3-8C76C5F02B1E}"/>
              </a:ext>
            </a:extLst>
          </p:cNvPr>
          <p:cNvSpPr>
            <a:spLocks noGrp="1"/>
          </p:cNvSpPr>
          <p:nvPr>
            <p:custDataLst>
              <p:tags r:id="rId27"/>
            </p:custDataLst>
          </p:nvPr>
        </p:nvSpPr>
        <p:spPr bwMode="auto">
          <a:xfrm>
            <a:off x="5539027" y="3406775"/>
            <a:ext cx="1111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A</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73" name="Espace réservé du texte 2">
            <a:extLst>
              <a:ext uri="{FF2B5EF4-FFF2-40B4-BE49-F238E27FC236}">
                <a16:creationId xmlns:a16="http://schemas.microsoft.com/office/drawing/2014/main" id="{7DB56D33-38DD-4C6B-AC78-566A167A3FEC}"/>
              </a:ext>
            </a:extLst>
          </p:cNvPr>
          <p:cNvSpPr>
            <a:spLocks noGrp="1"/>
          </p:cNvSpPr>
          <p:nvPr>
            <p:custDataLst>
              <p:tags r:id="rId28"/>
            </p:custDataLst>
          </p:nvPr>
        </p:nvSpPr>
        <p:spPr bwMode="auto">
          <a:xfrm>
            <a:off x="6066137" y="3406775"/>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O</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94" name="Espace réservé du texte 2">
            <a:extLst>
              <a:ext uri="{FF2B5EF4-FFF2-40B4-BE49-F238E27FC236}">
                <a16:creationId xmlns:a16="http://schemas.microsoft.com/office/drawing/2014/main" id="{B69420E7-FCD4-4688-A50E-FF034313CEF4}"/>
              </a:ext>
            </a:extLst>
          </p:cNvPr>
          <p:cNvSpPr>
            <a:spLocks noGrp="1"/>
          </p:cNvSpPr>
          <p:nvPr>
            <p:custDataLst>
              <p:tags r:id="rId29"/>
            </p:custDataLst>
          </p:nvPr>
        </p:nvSpPr>
        <p:spPr bwMode="auto">
          <a:xfrm>
            <a:off x="6298736" y="3406775"/>
            <a:ext cx="793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N</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95" name="Espace réservé du texte 2">
            <a:extLst>
              <a:ext uri="{FF2B5EF4-FFF2-40B4-BE49-F238E27FC236}">
                <a16:creationId xmlns:a16="http://schemas.microsoft.com/office/drawing/2014/main" id="{373AFE8F-97BC-4C5C-B6E0-214AE6939D6F}"/>
              </a:ext>
            </a:extLst>
          </p:cNvPr>
          <p:cNvSpPr>
            <a:spLocks noGrp="1"/>
          </p:cNvSpPr>
          <p:nvPr>
            <p:custDataLst>
              <p:tags r:id="rId30"/>
            </p:custDataLst>
          </p:nvPr>
        </p:nvSpPr>
        <p:spPr bwMode="auto">
          <a:xfrm>
            <a:off x="6561502" y="3406775"/>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D</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cxnSp>
        <p:nvCxnSpPr>
          <p:cNvPr id="12" name="Connecteur droit 11">
            <a:extLst>
              <a:ext uri="{FF2B5EF4-FFF2-40B4-BE49-F238E27FC236}">
                <a16:creationId xmlns:a16="http://schemas.microsoft.com/office/drawing/2014/main" id="{FFF063F4-FF96-414F-989A-A88ED5A185A5}"/>
              </a:ext>
            </a:extLst>
          </p:cNvPr>
          <p:cNvCxnSpPr/>
          <p:nvPr>
            <p:custDataLst>
              <p:tags r:id="rId31"/>
            </p:custDataLst>
          </p:nvPr>
        </p:nvCxnSpPr>
        <p:spPr bwMode="gray">
          <a:xfrm>
            <a:off x="4565650" y="1652588"/>
            <a:ext cx="339725" cy="0"/>
          </a:xfrm>
          <a:prstGeom prst="line">
            <a:avLst/>
          </a:prstGeom>
          <a:ln w="3175" cap="flat" cmpd="sng" algn="ctr">
            <a:solidFill>
              <a:schemeClr val="accent2"/>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Connecteur droit 14">
            <a:extLst>
              <a:ext uri="{FF2B5EF4-FFF2-40B4-BE49-F238E27FC236}">
                <a16:creationId xmlns:a16="http://schemas.microsoft.com/office/drawing/2014/main" id="{0964EB2C-92C9-4208-8326-A7EA65509DB0}"/>
              </a:ext>
            </a:extLst>
          </p:cNvPr>
          <p:cNvCxnSpPr/>
          <p:nvPr>
            <p:custDataLst>
              <p:tags r:id="rId32"/>
            </p:custDataLst>
          </p:nvPr>
        </p:nvCxnSpPr>
        <p:spPr bwMode="gray">
          <a:xfrm>
            <a:off x="5638800" y="1652588"/>
            <a:ext cx="339725" cy="0"/>
          </a:xfrm>
          <a:prstGeom prst="line">
            <a:avLst/>
          </a:prstGeom>
          <a:ln w="3175" cap="flat" cmpd="sng" algn="ctr">
            <a:solidFill>
              <a:schemeClr val="accent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Connecteur droit 3">
            <a:extLst>
              <a:ext uri="{FF2B5EF4-FFF2-40B4-BE49-F238E27FC236}">
                <a16:creationId xmlns:a16="http://schemas.microsoft.com/office/drawing/2014/main" id="{6B475DF7-FD61-4FC6-BDF7-FBFDBCBFC545}"/>
              </a:ext>
            </a:extLst>
          </p:cNvPr>
          <p:cNvCxnSpPr/>
          <p:nvPr>
            <p:custDataLst>
              <p:tags r:id="rId33"/>
            </p:custDataLst>
          </p:nvPr>
        </p:nvCxnSpPr>
        <p:spPr bwMode="gray">
          <a:xfrm>
            <a:off x="4554538" y="1465263"/>
            <a:ext cx="361950" cy="0"/>
          </a:xfrm>
          <a:prstGeom prst="line">
            <a:avLst/>
          </a:prstGeom>
          <a:ln w="19050"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Connecteur droit 13">
            <a:extLst>
              <a:ext uri="{FF2B5EF4-FFF2-40B4-BE49-F238E27FC236}">
                <a16:creationId xmlns:a16="http://schemas.microsoft.com/office/drawing/2014/main" id="{226F2F9A-A11E-44E8-9ACA-49B0D7249175}"/>
              </a:ext>
            </a:extLst>
          </p:cNvPr>
          <p:cNvCxnSpPr/>
          <p:nvPr>
            <p:custDataLst>
              <p:tags r:id="rId34"/>
            </p:custDataLst>
          </p:nvPr>
        </p:nvCxnSpPr>
        <p:spPr bwMode="gray">
          <a:xfrm>
            <a:off x="5627688" y="1465263"/>
            <a:ext cx="361950" cy="0"/>
          </a:xfrm>
          <a:prstGeom prst="line">
            <a:avLst/>
          </a:prstGeom>
          <a:ln w="19050"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0" name="Espace réservé du texte 2">
            <a:extLst>
              <a:ext uri="{FF2B5EF4-FFF2-40B4-BE49-F238E27FC236}">
                <a16:creationId xmlns:a16="http://schemas.microsoft.com/office/drawing/2014/main" id="{F5A2143A-6566-4A28-962A-36C5BC69439B}"/>
              </a:ext>
            </a:extLst>
          </p:cNvPr>
          <p:cNvSpPr>
            <a:spLocks noGrp="1"/>
          </p:cNvSpPr>
          <p:nvPr>
            <p:custDataLst>
              <p:tags r:id="rId35"/>
            </p:custDataLst>
          </p:nvPr>
        </p:nvSpPr>
        <p:spPr bwMode="auto">
          <a:xfrm>
            <a:off x="4967288" y="1401763"/>
            <a:ext cx="558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3304343D-11BF-453B-8D21-1D9D6CB01C36}" type="datetime'T''otal ''''''''Ai''''''''''''r''b''''''''us'''''''">
              <a:rPr lang="fr-FR" altLang="en-US" sz="900" smtClean="0">
                <a:latin typeface="Calibri" panose="020F0502020204030204" pitchFamily="34" charset="0"/>
                <a:cs typeface="Calibri" panose="020F0502020204030204" pitchFamily="34" charset="0"/>
                <a:sym typeface="Calibri" panose="020F0502020204030204" pitchFamily="34" charset="0"/>
              </a:rPr>
              <a:pPr/>
              <a:t>Total Airbus</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92" name="Espace réservé du texte 2">
            <a:extLst>
              <a:ext uri="{FF2B5EF4-FFF2-40B4-BE49-F238E27FC236}">
                <a16:creationId xmlns:a16="http://schemas.microsoft.com/office/drawing/2014/main" id="{9F264F68-D439-43F3-A08D-DC68A263720D}"/>
              </a:ext>
            </a:extLst>
          </p:cNvPr>
          <p:cNvSpPr>
            <a:spLocks noGrp="1"/>
          </p:cNvSpPr>
          <p:nvPr>
            <p:custDataLst>
              <p:tags r:id="rId36"/>
            </p:custDataLst>
          </p:nvPr>
        </p:nvSpPr>
        <p:spPr bwMode="auto">
          <a:xfrm>
            <a:off x="4967288" y="1589088"/>
            <a:ext cx="482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2E567860-90C8-40E9-A0AA-A38853B0971B}" type="datetime'''d''o''''''''''''''''''''''n''t ''''A''32''''0'''''''''''''''">
              <a:rPr lang="fr-FR" altLang="en-US" sz="900" smtClean="0">
                <a:latin typeface="Calibri" panose="020F0502020204030204" pitchFamily="34" charset="0"/>
                <a:cs typeface="Calibri" panose="020F0502020204030204" pitchFamily="34" charset="0"/>
                <a:sym typeface="Calibri" panose="020F0502020204030204" pitchFamily="34" charset="0"/>
              </a:rPr>
              <a:pPr/>
              <a:t>dont A32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91" name="Espace réservé du texte 2">
            <a:extLst>
              <a:ext uri="{FF2B5EF4-FFF2-40B4-BE49-F238E27FC236}">
                <a16:creationId xmlns:a16="http://schemas.microsoft.com/office/drawing/2014/main" id="{ACEBC4E5-6B0C-4744-BF37-FAFC6AC237BE}"/>
              </a:ext>
            </a:extLst>
          </p:cNvPr>
          <p:cNvSpPr>
            <a:spLocks noGrp="1"/>
          </p:cNvSpPr>
          <p:nvPr>
            <p:custDataLst>
              <p:tags r:id="rId37"/>
            </p:custDataLst>
          </p:nvPr>
        </p:nvSpPr>
        <p:spPr bwMode="auto">
          <a:xfrm>
            <a:off x="6040438" y="1401763"/>
            <a:ext cx="482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A39CBA89-4B47-4C5E-A30D-6B5AC68E8AF4}" type="datetime'''''''''''d''''''''''''o''''nt'' ''''''A''''''3''''''''3''0'''">
              <a:rPr lang="fr-FR" altLang="en-US" sz="900" smtClean="0">
                <a:latin typeface="Calibri" panose="020F0502020204030204" pitchFamily="34" charset="0"/>
                <a:cs typeface="Calibri" panose="020F0502020204030204" pitchFamily="34" charset="0"/>
                <a:sym typeface="Calibri" panose="020F0502020204030204" pitchFamily="34" charset="0"/>
              </a:rPr>
              <a:pPr/>
              <a:t>dont A33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89" name="Espace réservé du texte 2">
            <a:extLst>
              <a:ext uri="{FF2B5EF4-FFF2-40B4-BE49-F238E27FC236}">
                <a16:creationId xmlns:a16="http://schemas.microsoft.com/office/drawing/2014/main" id="{B01DB2A9-A92F-4586-831D-33B5896BCA5C}"/>
              </a:ext>
            </a:extLst>
          </p:cNvPr>
          <p:cNvSpPr>
            <a:spLocks noGrp="1"/>
          </p:cNvSpPr>
          <p:nvPr>
            <p:custDataLst>
              <p:tags r:id="rId38"/>
            </p:custDataLst>
          </p:nvPr>
        </p:nvSpPr>
        <p:spPr bwMode="auto">
          <a:xfrm>
            <a:off x="6040438" y="1589088"/>
            <a:ext cx="482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A568E8AD-E0EC-4AC4-9C6C-92B238E94D20}" type="datetime'd''''''''o''''''''nt'' A''''3''''''50'''''''''''''''''''''''">
              <a:rPr lang="fr-FR" altLang="en-US" sz="900" smtClean="0">
                <a:latin typeface="Calibri" panose="020F0502020204030204" pitchFamily="34" charset="0"/>
                <a:cs typeface="Calibri" panose="020F0502020204030204" pitchFamily="34" charset="0"/>
                <a:sym typeface="Calibri" panose="020F0502020204030204" pitchFamily="34" charset="0"/>
              </a:rPr>
              <a:pPr/>
              <a:t>dont A35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306" name="Chart 3">
            <a:extLst>
              <a:ext uri="{FF2B5EF4-FFF2-40B4-BE49-F238E27FC236}">
                <a16:creationId xmlns:a16="http://schemas.microsoft.com/office/drawing/2014/main" id="{0227E1C9-1B7B-4F1E-845D-1023CE41C07D}"/>
              </a:ext>
            </a:extLst>
          </p:cNvPr>
          <p:cNvGraphicFramePr/>
          <p:nvPr>
            <p:custDataLst>
              <p:tags r:id="rId39"/>
            </p:custDataLst>
            <p:extLst>
              <p:ext uri="{D42A27DB-BD31-4B8C-83A1-F6EECF244321}">
                <p14:modId xmlns:p14="http://schemas.microsoft.com/office/powerpoint/2010/main" val="3376458574"/>
              </p:ext>
            </p:extLst>
          </p:nvPr>
        </p:nvGraphicFramePr>
        <p:xfrm>
          <a:off x="3117850" y="3959225"/>
          <a:ext cx="3598863" cy="2003425"/>
        </p:xfrm>
        <a:graphic>
          <a:graphicData uri="http://schemas.openxmlformats.org/drawingml/2006/chart">
            <c:chart xmlns:c="http://schemas.openxmlformats.org/drawingml/2006/chart" xmlns:r="http://schemas.openxmlformats.org/officeDocument/2006/relationships" r:id="rId88"/>
          </a:graphicData>
        </a:graphic>
      </p:graphicFrame>
      <p:cxnSp>
        <p:nvCxnSpPr>
          <p:cNvPr id="27" name="Connecteur droit 26">
            <a:extLst>
              <a:ext uri="{FF2B5EF4-FFF2-40B4-BE49-F238E27FC236}">
                <a16:creationId xmlns:a16="http://schemas.microsoft.com/office/drawing/2014/main" id="{03B18FC2-67ED-4D27-8695-009BAABF8BE3}"/>
              </a:ext>
            </a:extLst>
          </p:cNvPr>
          <p:cNvCxnSpPr/>
          <p:nvPr>
            <p:custDataLst>
              <p:tags r:id="rId40"/>
            </p:custDataLst>
          </p:nvPr>
        </p:nvCxnSpPr>
        <p:spPr bwMode="gray">
          <a:xfrm>
            <a:off x="5002213" y="3906838"/>
            <a:ext cx="361950" cy="0"/>
          </a:xfrm>
          <a:prstGeom prst="line">
            <a:avLst/>
          </a:prstGeom>
          <a:ln w="19050"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Connecteur droit 25">
            <a:extLst>
              <a:ext uri="{FF2B5EF4-FFF2-40B4-BE49-F238E27FC236}">
                <a16:creationId xmlns:a16="http://schemas.microsoft.com/office/drawing/2014/main" id="{C3116270-7E1B-4412-A435-1F9480C6BBB1}"/>
              </a:ext>
            </a:extLst>
          </p:cNvPr>
          <p:cNvCxnSpPr/>
          <p:nvPr>
            <p:custDataLst>
              <p:tags r:id="rId41"/>
            </p:custDataLst>
          </p:nvPr>
        </p:nvCxnSpPr>
        <p:spPr bwMode="gray">
          <a:xfrm>
            <a:off x="3917950" y="4094163"/>
            <a:ext cx="339725" cy="0"/>
          </a:xfrm>
          <a:prstGeom prst="line">
            <a:avLst/>
          </a:prstGeom>
          <a:ln w="3175" cap="flat" cmpd="sng" algn="ctr">
            <a:solidFill>
              <a:schemeClr val="accent2"/>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Connecteur droit 23">
            <a:extLst>
              <a:ext uri="{FF2B5EF4-FFF2-40B4-BE49-F238E27FC236}">
                <a16:creationId xmlns:a16="http://schemas.microsoft.com/office/drawing/2014/main" id="{0A6CBAB4-5DA2-42B8-BCAF-F411AB9ECD06}"/>
              </a:ext>
            </a:extLst>
          </p:cNvPr>
          <p:cNvCxnSpPr/>
          <p:nvPr>
            <p:custDataLst>
              <p:tags r:id="rId42"/>
            </p:custDataLst>
          </p:nvPr>
        </p:nvCxnSpPr>
        <p:spPr bwMode="gray">
          <a:xfrm>
            <a:off x="3906838" y="3906838"/>
            <a:ext cx="361950" cy="0"/>
          </a:xfrm>
          <a:prstGeom prst="line">
            <a:avLst/>
          </a:prstGeom>
          <a:ln w="19050"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Connecteur droit 28">
            <a:extLst>
              <a:ext uri="{FF2B5EF4-FFF2-40B4-BE49-F238E27FC236}">
                <a16:creationId xmlns:a16="http://schemas.microsoft.com/office/drawing/2014/main" id="{40AEE9D4-79EF-4158-9A43-18AEF79C8837}"/>
              </a:ext>
            </a:extLst>
          </p:cNvPr>
          <p:cNvCxnSpPr/>
          <p:nvPr>
            <p:custDataLst>
              <p:tags r:id="rId43"/>
            </p:custDataLst>
          </p:nvPr>
        </p:nvCxnSpPr>
        <p:spPr bwMode="gray">
          <a:xfrm>
            <a:off x="5013325" y="4094163"/>
            <a:ext cx="339725" cy="0"/>
          </a:xfrm>
          <a:prstGeom prst="line">
            <a:avLst/>
          </a:prstGeom>
          <a:ln w="3175" cap="flat" cmpd="sng" algn="ctr">
            <a:solidFill>
              <a:schemeClr val="accent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9" name="Espace réservé du texte 2">
            <a:extLst>
              <a:ext uri="{FF2B5EF4-FFF2-40B4-BE49-F238E27FC236}">
                <a16:creationId xmlns:a16="http://schemas.microsoft.com/office/drawing/2014/main" id="{1237313B-74C6-4A9C-BE55-54FA251AAA46}"/>
              </a:ext>
            </a:extLst>
          </p:cNvPr>
          <p:cNvSpPr>
            <a:spLocks noGrp="1"/>
          </p:cNvSpPr>
          <p:nvPr>
            <p:custDataLst>
              <p:tags r:id="rId44"/>
            </p:custDataLst>
          </p:nvPr>
        </p:nvSpPr>
        <p:spPr bwMode="auto">
          <a:xfrm>
            <a:off x="4319588" y="3843338"/>
            <a:ext cx="5810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0AB56A53-E57F-4300-AA50-9916C1CA6EB5}" type="datetime'''Tot''''''a''l'' B''o''''''e''''''in''g'''''''''">
              <a:rPr lang="fr-FR" altLang="en-US" sz="900" smtClean="0">
                <a:latin typeface="Calibri" panose="020F0502020204030204" pitchFamily="34" charset="0"/>
                <a:cs typeface="Calibri" panose="020F0502020204030204" pitchFamily="34" charset="0"/>
                <a:sym typeface="Calibri" panose="020F0502020204030204" pitchFamily="34" charset="0"/>
              </a:rPr>
              <a:pPr/>
              <a:t>Total Boeing</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20" name="Espace réservé du texte 2">
            <a:extLst>
              <a:ext uri="{FF2B5EF4-FFF2-40B4-BE49-F238E27FC236}">
                <a16:creationId xmlns:a16="http://schemas.microsoft.com/office/drawing/2014/main" id="{D9357BDD-CA71-4441-881F-B5695BCE28FB}"/>
              </a:ext>
            </a:extLst>
          </p:cNvPr>
          <p:cNvSpPr>
            <a:spLocks noGrp="1"/>
          </p:cNvSpPr>
          <p:nvPr>
            <p:custDataLst>
              <p:tags r:id="rId45"/>
            </p:custDataLst>
          </p:nvPr>
        </p:nvSpPr>
        <p:spPr bwMode="auto">
          <a:xfrm>
            <a:off x="4319588" y="4030663"/>
            <a:ext cx="4159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75EE1A5F-EC66-495A-881D-7071FAC82F92}" type="datetime'''''d''''''''''''''''''''o''''''''''''''nt'' 7''''3''''7'">
              <a:rPr lang="fr-FR" altLang="en-US" sz="900" smtClean="0">
                <a:latin typeface="Calibri" panose="020F0502020204030204" pitchFamily="34" charset="0"/>
                <a:cs typeface="Calibri" panose="020F0502020204030204" pitchFamily="34" charset="0"/>
                <a:sym typeface="Calibri" panose="020F0502020204030204" pitchFamily="34" charset="0"/>
              </a:rPr>
              <a:pPr/>
              <a:t>dont 73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21" name="Espace réservé du texte 2">
            <a:extLst>
              <a:ext uri="{FF2B5EF4-FFF2-40B4-BE49-F238E27FC236}">
                <a16:creationId xmlns:a16="http://schemas.microsoft.com/office/drawing/2014/main" id="{124915EF-63E7-40CB-B698-47D47CF3DCCE}"/>
              </a:ext>
            </a:extLst>
          </p:cNvPr>
          <p:cNvSpPr>
            <a:spLocks noGrp="1"/>
          </p:cNvSpPr>
          <p:nvPr>
            <p:custDataLst>
              <p:tags r:id="rId46"/>
            </p:custDataLst>
          </p:nvPr>
        </p:nvSpPr>
        <p:spPr bwMode="auto">
          <a:xfrm>
            <a:off x="5414963" y="4030663"/>
            <a:ext cx="4159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83B57022-A7E4-4B91-89A7-EB400BD179F2}" type="datetime'''''d''''''o''''''''nt'''' ''''''''''''7''8''''''''''7'">
              <a:rPr lang="fr-FR" altLang="en-US" sz="900" smtClean="0">
                <a:latin typeface="Calibri" panose="020F0502020204030204" pitchFamily="34" charset="0"/>
                <a:cs typeface="Calibri" panose="020F0502020204030204" pitchFamily="34" charset="0"/>
                <a:sym typeface="Calibri" panose="020F0502020204030204" pitchFamily="34" charset="0"/>
              </a:rPr>
              <a:pPr/>
              <a:t>dont 78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22" name="Espace réservé du texte 2">
            <a:extLst>
              <a:ext uri="{FF2B5EF4-FFF2-40B4-BE49-F238E27FC236}">
                <a16:creationId xmlns:a16="http://schemas.microsoft.com/office/drawing/2014/main" id="{CFF557F7-830D-4248-9720-030560BFA261}"/>
              </a:ext>
            </a:extLst>
          </p:cNvPr>
          <p:cNvSpPr>
            <a:spLocks noGrp="1"/>
          </p:cNvSpPr>
          <p:nvPr>
            <p:custDataLst>
              <p:tags r:id="rId47"/>
            </p:custDataLst>
          </p:nvPr>
        </p:nvSpPr>
        <p:spPr bwMode="auto">
          <a:xfrm>
            <a:off x="5414963" y="3843338"/>
            <a:ext cx="4159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53D33910-9364-4484-9AD3-D6440108B366}" type="datetime'''''''''''''''''d''''on''''t ''''''''7''''7''''''''''7'''''">
              <a:rPr lang="fr-FR" altLang="en-US" sz="900" smtClean="0">
                <a:latin typeface="Calibri" panose="020F0502020204030204" pitchFamily="34" charset="0"/>
                <a:cs typeface="Calibri" panose="020F0502020204030204" pitchFamily="34" charset="0"/>
                <a:sym typeface="Calibri" panose="020F0502020204030204" pitchFamily="34" charset="0"/>
              </a:rPr>
              <a:pPr/>
              <a:t>dont 77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grpSp>
        <p:nvGrpSpPr>
          <p:cNvPr id="224" name="Groupe 223">
            <a:extLst>
              <a:ext uri="{FF2B5EF4-FFF2-40B4-BE49-F238E27FC236}">
                <a16:creationId xmlns:a16="http://schemas.microsoft.com/office/drawing/2014/main" id="{E0E45818-B40E-4631-B714-2C9F181FC426}"/>
              </a:ext>
            </a:extLst>
          </p:cNvPr>
          <p:cNvGrpSpPr/>
          <p:nvPr/>
        </p:nvGrpSpPr>
        <p:grpSpPr>
          <a:xfrm>
            <a:off x="3084082" y="3587751"/>
            <a:ext cx="777560" cy="231775"/>
            <a:chOff x="472311" y="3568700"/>
            <a:chExt cx="777698" cy="231775"/>
          </a:xfrm>
        </p:grpSpPr>
        <p:sp>
          <p:nvSpPr>
            <p:cNvPr id="233" name="ZoneTexte 232">
              <a:extLst>
                <a:ext uri="{FF2B5EF4-FFF2-40B4-BE49-F238E27FC236}">
                  <a16:creationId xmlns:a16="http://schemas.microsoft.com/office/drawing/2014/main" id="{724B377D-C72C-41E1-87C6-B1331121494C}"/>
                </a:ext>
              </a:extLst>
            </p:cNvPr>
            <p:cNvSpPr txBox="1"/>
            <p:nvPr/>
          </p:nvSpPr>
          <p:spPr>
            <a:xfrm>
              <a:off x="472311" y="3568700"/>
              <a:ext cx="777698" cy="231775"/>
            </a:xfrm>
            <a:prstGeom prst="rect">
              <a:avLst/>
            </a:prstGeom>
            <a:noFill/>
          </p:spPr>
          <p:txBody>
            <a:bodyPr wrap="square" rtlCol="0">
              <a:spAutoFit/>
            </a:bodyPr>
            <a:lstStyle/>
            <a:p>
              <a:pPr algn="ctr"/>
              <a:r>
                <a:rPr lang="fr-FR" sz="900" dirty="0">
                  <a:solidFill>
                    <a:schemeClr val="tx2"/>
                  </a:solidFill>
                  <a:latin typeface="Calibri" panose="020F0502020204030204" pitchFamily="34" charset="0"/>
                  <a:cs typeface="Calibri" panose="020F0502020204030204" pitchFamily="34" charset="0"/>
                </a:rPr>
                <a:t>2020</a:t>
              </a:r>
            </a:p>
          </p:txBody>
        </p:sp>
        <p:cxnSp>
          <p:nvCxnSpPr>
            <p:cNvPr id="234" name="Connecteur droit 233">
              <a:extLst>
                <a:ext uri="{FF2B5EF4-FFF2-40B4-BE49-F238E27FC236}">
                  <a16:creationId xmlns:a16="http://schemas.microsoft.com/office/drawing/2014/main" id="{FC4E85DB-0484-4A71-87F1-67F87994B7D1}"/>
                </a:ext>
              </a:extLst>
            </p:cNvPr>
            <p:cNvCxnSpPr>
              <a:cxnSpLocks/>
            </p:cNvCxnSpPr>
            <p:nvPr/>
          </p:nvCxnSpPr>
          <p:spPr>
            <a:xfrm>
              <a:off x="789218" y="3579099"/>
              <a:ext cx="14402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pic>
        <p:nvPicPr>
          <p:cNvPr id="226" name="Image 225">
            <a:extLst>
              <a:ext uri="{FF2B5EF4-FFF2-40B4-BE49-F238E27FC236}">
                <a16:creationId xmlns:a16="http://schemas.microsoft.com/office/drawing/2014/main" id="{E5904904-D88F-4CF1-9C77-B7E09E7CCC4B}"/>
              </a:ext>
            </a:extLst>
          </p:cNvPr>
          <p:cNvPicPr>
            <a:picLocks/>
          </p:cNvPicPr>
          <p:nvPr/>
        </p:nvPicPr>
        <p:blipFill rotWithShape="1">
          <a:blip r:embed="rId83"/>
          <a:srcRect t="63342"/>
          <a:stretch/>
        </p:blipFill>
        <p:spPr>
          <a:xfrm>
            <a:off x="3154363" y="3851578"/>
            <a:ext cx="684084" cy="166688"/>
          </a:xfrm>
          <a:prstGeom prst="rect">
            <a:avLst/>
          </a:prstGeom>
        </p:spPr>
      </p:pic>
      <p:pic>
        <p:nvPicPr>
          <p:cNvPr id="235" name="Image 234">
            <a:extLst>
              <a:ext uri="{FF2B5EF4-FFF2-40B4-BE49-F238E27FC236}">
                <a16:creationId xmlns:a16="http://schemas.microsoft.com/office/drawing/2014/main" id="{220EB096-C32C-4AF7-B8C4-9BEADBE025D0}"/>
              </a:ext>
            </a:extLst>
          </p:cNvPr>
          <p:cNvPicPr>
            <a:picLocks/>
          </p:cNvPicPr>
          <p:nvPr/>
        </p:nvPicPr>
        <p:blipFill>
          <a:blip r:embed="rId82"/>
          <a:stretch>
            <a:fillRect/>
          </a:stretch>
        </p:blipFill>
        <p:spPr>
          <a:xfrm>
            <a:off x="3176588" y="1239838"/>
            <a:ext cx="684213" cy="455613"/>
          </a:xfrm>
          <a:prstGeom prst="rect">
            <a:avLst/>
          </a:prstGeom>
        </p:spPr>
      </p:pic>
      <p:sp>
        <p:nvSpPr>
          <p:cNvPr id="260" name="Rectangle 259">
            <a:extLst>
              <a:ext uri="{FF2B5EF4-FFF2-40B4-BE49-F238E27FC236}">
                <a16:creationId xmlns:a16="http://schemas.microsoft.com/office/drawing/2014/main" id="{EC730ABB-01FC-4F7B-BC43-D750336F74D7}"/>
              </a:ext>
            </a:extLst>
          </p:cNvPr>
          <p:cNvSpPr/>
          <p:nvPr/>
        </p:nvSpPr>
        <p:spPr>
          <a:xfrm>
            <a:off x="6895431" y="3724391"/>
            <a:ext cx="5125119" cy="2357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err="1">
                <a:ln>
                  <a:noFill/>
                </a:ln>
                <a:solidFill>
                  <a:schemeClr val="bg1"/>
                </a:solidFill>
                <a:effectLst/>
                <a:uLnTx/>
                <a:uFillTx/>
                <a:latin typeface="Calibri"/>
                <a:ea typeface="+mn-ea"/>
                <a:cs typeface="+mn-cs"/>
              </a:rPr>
              <a:t>Avio</a:t>
            </a:r>
            <a:r>
              <a:rPr lang="fr-FR" sz="1400" b="1" kern="0" dirty="0">
                <a:solidFill>
                  <a:schemeClr val="bg1"/>
                </a:solidFill>
                <a:latin typeface="Calibri"/>
              </a:rPr>
              <a:t>ns produits &amp;</a:t>
            </a:r>
            <a:r>
              <a:rPr kumimoji="0" lang="fr-FR" sz="1400" b="1" i="0" u="none" strike="noStrike" kern="0" cap="none" spc="0" normalizeH="0" baseline="0" noProof="0" dirty="0">
                <a:ln>
                  <a:noFill/>
                </a:ln>
                <a:solidFill>
                  <a:schemeClr val="bg1"/>
                </a:solidFill>
                <a:effectLst/>
                <a:uLnTx/>
                <a:uFillTx/>
                <a:latin typeface="Calibri"/>
                <a:ea typeface="+mn-ea"/>
                <a:cs typeface="+mn-cs"/>
              </a:rPr>
              <a:t> non-livrés YTD</a:t>
            </a:r>
          </a:p>
        </p:txBody>
      </p:sp>
      <p:sp>
        <p:nvSpPr>
          <p:cNvPr id="261" name="TextBox 26">
            <a:extLst>
              <a:ext uri="{FF2B5EF4-FFF2-40B4-BE49-F238E27FC236}">
                <a16:creationId xmlns:a16="http://schemas.microsoft.com/office/drawing/2014/main" id="{A10A4420-66C8-42DE-82D1-BEFFB2419C97}"/>
              </a:ext>
            </a:extLst>
          </p:cNvPr>
          <p:cNvSpPr txBox="1"/>
          <p:nvPr/>
        </p:nvSpPr>
        <p:spPr>
          <a:xfrm>
            <a:off x="1225550" y="4241106"/>
            <a:ext cx="1163638" cy="5238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4"/>
                </a:solidFill>
                <a:effectLst/>
                <a:uLnTx/>
                <a:uFillTx/>
                <a:latin typeface="Calibri"/>
                <a:ea typeface="+mn-ea"/>
                <a:cs typeface="+mn-cs"/>
              </a:rPr>
              <a:t>7 080</a:t>
            </a:r>
          </a:p>
        </p:txBody>
      </p:sp>
      <p:sp>
        <p:nvSpPr>
          <p:cNvPr id="262" name="TextBox 26">
            <a:extLst>
              <a:ext uri="{FF2B5EF4-FFF2-40B4-BE49-F238E27FC236}">
                <a16:creationId xmlns:a16="http://schemas.microsoft.com/office/drawing/2014/main" id="{37A8C09C-710F-48E5-AF07-424C5D583BDF}"/>
              </a:ext>
            </a:extLst>
          </p:cNvPr>
          <p:cNvSpPr txBox="1"/>
          <p:nvPr/>
        </p:nvSpPr>
        <p:spPr>
          <a:xfrm>
            <a:off x="1981200" y="4350644"/>
            <a:ext cx="1163638" cy="3683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0000"/>
                </a:solidFill>
                <a:effectLst/>
                <a:uLnTx/>
                <a:uFillTx/>
                <a:latin typeface="Calibri"/>
                <a:ea typeface="+mn-ea"/>
                <a:cs typeface="+mn-cs"/>
              </a:rPr>
              <a:t>- 104</a:t>
            </a:r>
          </a:p>
        </p:txBody>
      </p:sp>
      <p:sp>
        <p:nvSpPr>
          <p:cNvPr id="263" name="TextBox 26">
            <a:extLst>
              <a:ext uri="{FF2B5EF4-FFF2-40B4-BE49-F238E27FC236}">
                <a16:creationId xmlns:a16="http://schemas.microsoft.com/office/drawing/2014/main" id="{54604176-CFA7-41D5-BE94-A3AE78B7F4C2}"/>
              </a:ext>
            </a:extLst>
          </p:cNvPr>
          <p:cNvSpPr txBox="1"/>
          <p:nvPr/>
        </p:nvSpPr>
        <p:spPr>
          <a:xfrm>
            <a:off x="1195387" y="5358706"/>
            <a:ext cx="1163638" cy="5238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4"/>
                </a:solidFill>
                <a:effectLst/>
                <a:uLnTx/>
                <a:uFillTx/>
                <a:latin typeface="Calibri"/>
                <a:ea typeface="+mn-ea"/>
                <a:cs typeface="+mn-cs"/>
              </a:rPr>
              <a:t>5 136</a:t>
            </a:r>
          </a:p>
        </p:txBody>
      </p:sp>
      <p:sp>
        <p:nvSpPr>
          <p:cNvPr id="264" name="TextBox 26">
            <a:extLst>
              <a:ext uri="{FF2B5EF4-FFF2-40B4-BE49-F238E27FC236}">
                <a16:creationId xmlns:a16="http://schemas.microsoft.com/office/drawing/2014/main" id="{E165D15C-4633-4830-B94D-6C1F5067BE22}"/>
              </a:ext>
            </a:extLst>
          </p:cNvPr>
          <p:cNvSpPr txBox="1"/>
          <p:nvPr/>
        </p:nvSpPr>
        <p:spPr>
          <a:xfrm>
            <a:off x="1951037" y="5468244"/>
            <a:ext cx="1163638" cy="3683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00B050"/>
                </a:solidFill>
                <a:effectLst/>
                <a:uLnTx/>
                <a:uFillTx/>
                <a:latin typeface="Calibri"/>
                <a:ea typeface="+mn-ea"/>
                <a:cs typeface="+mn-cs"/>
              </a:rPr>
              <a:t>+139</a:t>
            </a:r>
          </a:p>
        </p:txBody>
      </p:sp>
      <p:pic>
        <p:nvPicPr>
          <p:cNvPr id="265" name="Image 264">
            <a:extLst>
              <a:ext uri="{FF2B5EF4-FFF2-40B4-BE49-F238E27FC236}">
                <a16:creationId xmlns:a16="http://schemas.microsoft.com/office/drawing/2014/main" id="{5B0D0375-7556-4333-AD89-10E3CDB44481}"/>
              </a:ext>
            </a:extLst>
          </p:cNvPr>
          <p:cNvPicPr>
            <a:picLocks noChangeAspect="1"/>
          </p:cNvPicPr>
          <p:nvPr/>
        </p:nvPicPr>
        <p:blipFill>
          <a:blip r:embed="rId83"/>
          <a:stretch>
            <a:fillRect/>
          </a:stretch>
        </p:blipFill>
        <p:spPr>
          <a:xfrm>
            <a:off x="293687" y="5282505"/>
            <a:ext cx="1069975" cy="504874"/>
          </a:xfrm>
          <a:prstGeom prst="rect">
            <a:avLst/>
          </a:prstGeom>
        </p:spPr>
      </p:pic>
      <p:pic>
        <p:nvPicPr>
          <p:cNvPr id="266" name="Image 265">
            <a:extLst>
              <a:ext uri="{FF2B5EF4-FFF2-40B4-BE49-F238E27FC236}">
                <a16:creationId xmlns:a16="http://schemas.microsoft.com/office/drawing/2014/main" id="{D9C302AC-93BF-45BC-ABEA-BA155C880603}"/>
              </a:ext>
            </a:extLst>
          </p:cNvPr>
          <p:cNvPicPr>
            <a:picLocks noChangeAspect="1"/>
          </p:cNvPicPr>
          <p:nvPr/>
        </p:nvPicPr>
        <p:blipFill>
          <a:blip r:embed="rId82"/>
          <a:stretch>
            <a:fillRect/>
          </a:stretch>
        </p:blipFill>
        <p:spPr>
          <a:xfrm>
            <a:off x="236537" y="4203007"/>
            <a:ext cx="1060450" cy="706277"/>
          </a:xfrm>
          <a:prstGeom prst="rect">
            <a:avLst/>
          </a:prstGeom>
        </p:spPr>
      </p:pic>
      <p:sp>
        <p:nvSpPr>
          <p:cNvPr id="268" name="ZoneTexte 267">
            <a:extLst>
              <a:ext uri="{FF2B5EF4-FFF2-40B4-BE49-F238E27FC236}">
                <a16:creationId xmlns:a16="http://schemas.microsoft.com/office/drawing/2014/main" id="{6A2D1725-9C14-496A-BCDA-9B2E63233BDD}"/>
              </a:ext>
            </a:extLst>
          </p:cNvPr>
          <p:cNvSpPr txBox="1"/>
          <p:nvPr/>
        </p:nvSpPr>
        <p:spPr>
          <a:xfrm>
            <a:off x="2011578" y="6212143"/>
            <a:ext cx="1044000" cy="184666"/>
          </a:xfrm>
          <a:prstGeom prst="rect">
            <a:avLst/>
          </a:prstGeom>
          <a:noFill/>
        </p:spPr>
        <p:txBody>
          <a:bodyPr wrap="square" rtlCol="0">
            <a:spAutoFit/>
          </a:bodyPr>
          <a:lstStyle/>
          <a:p>
            <a:r>
              <a:rPr lang="fr-FR" sz="600" dirty="0">
                <a:solidFill>
                  <a:schemeClr val="tx2"/>
                </a:solidFill>
              </a:rPr>
              <a:t> Source : Airbus, Boeing</a:t>
            </a:r>
          </a:p>
        </p:txBody>
      </p:sp>
      <p:sp>
        <p:nvSpPr>
          <p:cNvPr id="187" name="ZoneTexte 186">
            <a:extLst>
              <a:ext uri="{FF2B5EF4-FFF2-40B4-BE49-F238E27FC236}">
                <a16:creationId xmlns:a16="http://schemas.microsoft.com/office/drawing/2014/main" id="{2BBCB42D-7904-4000-802F-1AF38302679F}"/>
              </a:ext>
            </a:extLst>
          </p:cNvPr>
          <p:cNvSpPr txBox="1"/>
          <p:nvPr/>
        </p:nvSpPr>
        <p:spPr>
          <a:xfrm>
            <a:off x="5791049" y="6247859"/>
            <a:ext cx="1444644" cy="184666"/>
          </a:xfrm>
          <a:prstGeom prst="rect">
            <a:avLst/>
          </a:prstGeom>
          <a:noFill/>
        </p:spPr>
        <p:txBody>
          <a:bodyPr wrap="square" rtlCol="0">
            <a:spAutoFit/>
          </a:bodyPr>
          <a:lstStyle/>
          <a:p>
            <a:r>
              <a:rPr lang="fr-FR" sz="600" dirty="0">
                <a:solidFill>
                  <a:schemeClr val="tx2"/>
                </a:solidFill>
              </a:rPr>
              <a:t> Source : Airbus, Boeing</a:t>
            </a:r>
          </a:p>
        </p:txBody>
      </p:sp>
      <p:sp>
        <p:nvSpPr>
          <p:cNvPr id="3" name="ZoneTexte 2">
            <a:extLst>
              <a:ext uri="{FF2B5EF4-FFF2-40B4-BE49-F238E27FC236}">
                <a16:creationId xmlns:a16="http://schemas.microsoft.com/office/drawing/2014/main" id="{7123C9CD-0DB3-4CF8-A58B-E9B01F7752F7}"/>
              </a:ext>
            </a:extLst>
          </p:cNvPr>
          <p:cNvSpPr txBox="1"/>
          <p:nvPr/>
        </p:nvSpPr>
        <p:spPr>
          <a:xfrm>
            <a:off x="7341703" y="1457161"/>
            <a:ext cx="782187" cy="215444"/>
          </a:xfrm>
          <a:prstGeom prst="rect">
            <a:avLst/>
          </a:prstGeom>
          <a:noFill/>
        </p:spPr>
        <p:txBody>
          <a:bodyPr wrap="square" rtlCol="0">
            <a:spAutoFit/>
          </a:bodyPr>
          <a:lstStyle/>
          <a:p>
            <a:pPr algn="ctr"/>
            <a:r>
              <a:rPr lang="fr-FR" sz="800" b="1" dirty="0">
                <a:solidFill>
                  <a:schemeClr val="tx2"/>
                </a:solidFill>
                <a:latin typeface="Calibri" panose="020F0502020204030204" pitchFamily="34" charset="0"/>
                <a:cs typeface="Calibri" panose="020F0502020204030204" pitchFamily="34" charset="0"/>
              </a:rPr>
              <a:t>Annulations</a:t>
            </a:r>
          </a:p>
        </p:txBody>
      </p:sp>
      <p:sp>
        <p:nvSpPr>
          <p:cNvPr id="276" name="ZoneTexte 275">
            <a:extLst>
              <a:ext uri="{FF2B5EF4-FFF2-40B4-BE49-F238E27FC236}">
                <a16:creationId xmlns:a16="http://schemas.microsoft.com/office/drawing/2014/main" id="{F0E35A8C-6FA8-4F3C-8269-002FD9ACF97E}"/>
              </a:ext>
            </a:extLst>
          </p:cNvPr>
          <p:cNvSpPr txBox="1"/>
          <p:nvPr/>
        </p:nvSpPr>
        <p:spPr>
          <a:xfrm>
            <a:off x="8256659" y="1457161"/>
            <a:ext cx="782187" cy="215444"/>
          </a:xfrm>
          <a:prstGeom prst="rect">
            <a:avLst/>
          </a:prstGeom>
          <a:noFill/>
        </p:spPr>
        <p:txBody>
          <a:bodyPr wrap="square" rtlCol="0">
            <a:spAutoFit/>
          </a:bodyPr>
          <a:lstStyle/>
          <a:p>
            <a:r>
              <a:rPr lang="fr-FR" sz="800" b="1" dirty="0">
                <a:solidFill>
                  <a:schemeClr val="tx2"/>
                </a:solidFill>
                <a:latin typeface="Calibri" panose="020F0502020204030204" pitchFamily="34" charset="0"/>
                <a:cs typeface="Calibri" panose="020F0502020204030204" pitchFamily="34" charset="0"/>
              </a:rPr>
              <a:t>Commandes</a:t>
            </a:r>
          </a:p>
        </p:txBody>
      </p:sp>
      <p:sp>
        <p:nvSpPr>
          <p:cNvPr id="277" name="ZoneTexte 276">
            <a:extLst>
              <a:ext uri="{FF2B5EF4-FFF2-40B4-BE49-F238E27FC236}">
                <a16:creationId xmlns:a16="http://schemas.microsoft.com/office/drawing/2014/main" id="{5FC510A5-37A9-4F76-974D-7679B28FABBD}"/>
              </a:ext>
            </a:extLst>
          </p:cNvPr>
          <p:cNvSpPr txBox="1"/>
          <p:nvPr/>
        </p:nvSpPr>
        <p:spPr>
          <a:xfrm>
            <a:off x="9755203" y="1454395"/>
            <a:ext cx="782187" cy="215444"/>
          </a:xfrm>
          <a:prstGeom prst="rect">
            <a:avLst/>
          </a:prstGeom>
          <a:noFill/>
        </p:spPr>
        <p:txBody>
          <a:bodyPr wrap="square" rtlCol="0">
            <a:spAutoFit/>
          </a:bodyPr>
          <a:lstStyle/>
          <a:p>
            <a:pPr algn="ctr"/>
            <a:r>
              <a:rPr lang="fr-FR" sz="800" b="1" dirty="0">
                <a:solidFill>
                  <a:schemeClr val="tx2"/>
                </a:solidFill>
                <a:latin typeface="Calibri" panose="020F0502020204030204" pitchFamily="34" charset="0"/>
                <a:cs typeface="Calibri" panose="020F0502020204030204" pitchFamily="34" charset="0"/>
              </a:rPr>
              <a:t>Annulations</a:t>
            </a:r>
          </a:p>
        </p:txBody>
      </p:sp>
      <p:sp>
        <p:nvSpPr>
          <p:cNvPr id="278" name="ZoneTexte 277">
            <a:extLst>
              <a:ext uri="{FF2B5EF4-FFF2-40B4-BE49-F238E27FC236}">
                <a16:creationId xmlns:a16="http://schemas.microsoft.com/office/drawing/2014/main" id="{EC78708A-7225-4B28-BF64-1C278245839A}"/>
              </a:ext>
            </a:extLst>
          </p:cNvPr>
          <p:cNvSpPr txBox="1"/>
          <p:nvPr/>
        </p:nvSpPr>
        <p:spPr>
          <a:xfrm>
            <a:off x="10860939" y="1449776"/>
            <a:ext cx="782187" cy="215444"/>
          </a:xfrm>
          <a:prstGeom prst="rect">
            <a:avLst/>
          </a:prstGeom>
          <a:noFill/>
        </p:spPr>
        <p:txBody>
          <a:bodyPr wrap="square" rtlCol="0">
            <a:spAutoFit/>
          </a:bodyPr>
          <a:lstStyle/>
          <a:p>
            <a:r>
              <a:rPr lang="fr-FR" sz="800" b="1" dirty="0">
                <a:solidFill>
                  <a:schemeClr val="tx2"/>
                </a:solidFill>
                <a:latin typeface="Calibri" panose="020F0502020204030204" pitchFamily="34" charset="0"/>
                <a:cs typeface="Calibri" panose="020F0502020204030204" pitchFamily="34" charset="0"/>
              </a:rPr>
              <a:t>Commandes</a:t>
            </a:r>
          </a:p>
        </p:txBody>
      </p:sp>
      <p:pic>
        <p:nvPicPr>
          <p:cNvPr id="330" name="Image 329">
            <a:extLst>
              <a:ext uri="{FF2B5EF4-FFF2-40B4-BE49-F238E27FC236}">
                <a16:creationId xmlns:a16="http://schemas.microsoft.com/office/drawing/2014/main" id="{7291A2C6-1F44-433E-8D67-8E5FDED700D8}"/>
              </a:ext>
            </a:extLst>
          </p:cNvPr>
          <p:cNvPicPr>
            <a:picLocks/>
          </p:cNvPicPr>
          <p:nvPr/>
        </p:nvPicPr>
        <p:blipFill>
          <a:blip r:embed="rId82"/>
          <a:stretch>
            <a:fillRect/>
          </a:stretch>
        </p:blipFill>
        <p:spPr>
          <a:xfrm>
            <a:off x="8139111" y="6020593"/>
            <a:ext cx="684213" cy="455613"/>
          </a:xfrm>
          <a:prstGeom prst="rect">
            <a:avLst/>
          </a:prstGeom>
        </p:spPr>
      </p:pic>
      <p:pic>
        <p:nvPicPr>
          <p:cNvPr id="331" name="Image 330">
            <a:extLst>
              <a:ext uri="{FF2B5EF4-FFF2-40B4-BE49-F238E27FC236}">
                <a16:creationId xmlns:a16="http://schemas.microsoft.com/office/drawing/2014/main" id="{07776989-3012-448A-B792-6035EC30C0C7}"/>
              </a:ext>
            </a:extLst>
          </p:cNvPr>
          <p:cNvPicPr>
            <a:picLocks/>
          </p:cNvPicPr>
          <p:nvPr/>
        </p:nvPicPr>
        <p:blipFill rotWithShape="1">
          <a:blip r:embed="rId83"/>
          <a:srcRect t="63342"/>
          <a:stretch/>
        </p:blipFill>
        <p:spPr>
          <a:xfrm>
            <a:off x="10514013" y="6188049"/>
            <a:ext cx="684213" cy="166688"/>
          </a:xfrm>
          <a:prstGeom prst="rect">
            <a:avLst/>
          </a:prstGeom>
        </p:spPr>
      </p:pic>
      <p:sp>
        <p:nvSpPr>
          <p:cNvPr id="8" name="ZoneTexte 7">
            <a:extLst>
              <a:ext uri="{FF2B5EF4-FFF2-40B4-BE49-F238E27FC236}">
                <a16:creationId xmlns:a16="http://schemas.microsoft.com/office/drawing/2014/main" id="{0F248677-2B3B-4D33-8092-A63747D709D5}"/>
              </a:ext>
            </a:extLst>
          </p:cNvPr>
          <p:cNvSpPr txBox="1"/>
          <p:nvPr/>
        </p:nvSpPr>
        <p:spPr>
          <a:xfrm>
            <a:off x="7096524" y="5463000"/>
            <a:ext cx="368300" cy="230832"/>
          </a:xfrm>
          <a:prstGeom prst="rect">
            <a:avLst/>
          </a:prstGeom>
          <a:noFill/>
        </p:spPr>
        <p:txBody>
          <a:bodyPr wrap="square" rtlCol="0">
            <a:spAutoFit/>
          </a:bodyPr>
          <a:lstStyle/>
          <a:p>
            <a:pPr algn="ctr"/>
            <a:r>
              <a:rPr lang="fr-FR" sz="900" b="1" dirty="0">
                <a:solidFill>
                  <a:srgbClr val="00B050"/>
                </a:solidFill>
                <a:latin typeface="Calibri" panose="020F0502020204030204" pitchFamily="34" charset="0"/>
                <a:cs typeface="Calibri" panose="020F0502020204030204" pitchFamily="34" charset="0"/>
              </a:rPr>
              <a:t>(-2)</a:t>
            </a:r>
          </a:p>
        </p:txBody>
      </p:sp>
      <p:sp>
        <p:nvSpPr>
          <p:cNvPr id="355" name="ZoneTexte 354">
            <a:extLst>
              <a:ext uri="{FF2B5EF4-FFF2-40B4-BE49-F238E27FC236}">
                <a16:creationId xmlns:a16="http://schemas.microsoft.com/office/drawing/2014/main" id="{C1E61069-C8CA-4019-A975-62D182A8B9CC}"/>
              </a:ext>
            </a:extLst>
          </p:cNvPr>
          <p:cNvSpPr txBox="1"/>
          <p:nvPr/>
        </p:nvSpPr>
        <p:spPr>
          <a:xfrm>
            <a:off x="7830345" y="4388907"/>
            <a:ext cx="368300" cy="230188"/>
          </a:xfrm>
          <a:prstGeom prst="rect">
            <a:avLst/>
          </a:prstGeom>
          <a:noFill/>
        </p:spPr>
        <p:txBody>
          <a:bodyPr wrap="square" rtlCol="0">
            <a:spAutoFit/>
          </a:bodyPr>
          <a:lstStyle/>
          <a:p>
            <a:pPr algn="ctr"/>
            <a:r>
              <a:rPr lang="fr-FR" sz="900" b="1" dirty="0">
                <a:solidFill>
                  <a:schemeClr val="tx2"/>
                </a:solidFill>
                <a:latin typeface="Calibri" panose="020F0502020204030204" pitchFamily="34" charset="0"/>
                <a:cs typeface="Calibri" panose="020F0502020204030204" pitchFamily="34" charset="0"/>
              </a:rPr>
              <a:t>-</a:t>
            </a:r>
          </a:p>
        </p:txBody>
      </p:sp>
      <p:sp>
        <p:nvSpPr>
          <p:cNvPr id="357" name="ZoneTexte 356">
            <a:extLst>
              <a:ext uri="{FF2B5EF4-FFF2-40B4-BE49-F238E27FC236}">
                <a16:creationId xmlns:a16="http://schemas.microsoft.com/office/drawing/2014/main" id="{4250E03D-4363-4E0A-85E5-48B3FEE56E02}"/>
              </a:ext>
            </a:extLst>
          </p:cNvPr>
          <p:cNvSpPr txBox="1"/>
          <p:nvPr/>
        </p:nvSpPr>
        <p:spPr>
          <a:xfrm>
            <a:off x="8190709" y="4158190"/>
            <a:ext cx="407984" cy="230832"/>
          </a:xfrm>
          <a:prstGeom prst="rect">
            <a:avLst/>
          </a:prstGeom>
          <a:noFill/>
        </p:spPr>
        <p:txBody>
          <a:bodyPr wrap="square" rtlCol="0">
            <a:spAutoFit/>
          </a:bodyPr>
          <a:lstStyle/>
          <a:p>
            <a:pPr algn="ctr"/>
            <a:r>
              <a:rPr lang="fr-FR" sz="900" b="1" dirty="0">
                <a:solidFill>
                  <a:srgbClr val="00B050"/>
                </a:solidFill>
                <a:latin typeface="Calibri" panose="020F0502020204030204" pitchFamily="34" charset="0"/>
                <a:cs typeface="Calibri" panose="020F0502020204030204" pitchFamily="34" charset="0"/>
              </a:rPr>
              <a:t>(-11)</a:t>
            </a:r>
          </a:p>
        </p:txBody>
      </p:sp>
      <p:sp>
        <p:nvSpPr>
          <p:cNvPr id="358" name="ZoneTexte 357">
            <a:extLst>
              <a:ext uri="{FF2B5EF4-FFF2-40B4-BE49-F238E27FC236}">
                <a16:creationId xmlns:a16="http://schemas.microsoft.com/office/drawing/2014/main" id="{9C34914F-1284-4D25-9932-A77D91B995E9}"/>
              </a:ext>
            </a:extLst>
          </p:cNvPr>
          <p:cNvSpPr txBox="1"/>
          <p:nvPr/>
        </p:nvSpPr>
        <p:spPr>
          <a:xfrm>
            <a:off x="7430297" y="4616200"/>
            <a:ext cx="433784" cy="230832"/>
          </a:xfrm>
          <a:prstGeom prst="rect">
            <a:avLst/>
          </a:prstGeom>
          <a:noFill/>
        </p:spPr>
        <p:txBody>
          <a:bodyPr wrap="square" rtlCol="0">
            <a:spAutoFit/>
          </a:bodyPr>
          <a:lstStyle/>
          <a:p>
            <a:pPr algn="ctr"/>
            <a:r>
              <a:rPr lang="fr-FR" sz="900" b="1" dirty="0">
                <a:solidFill>
                  <a:srgbClr val="00B050"/>
                </a:solidFill>
                <a:latin typeface="Calibri" panose="020F0502020204030204" pitchFamily="34" charset="0"/>
                <a:cs typeface="Calibri" panose="020F0502020204030204" pitchFamily="34" charset="0"/>
              </a:rPr>
              <a:t>(-21)</a:t>
            </a:r>
          </a:p>
        </p:txBody>
      </p:sp>
      <p:sp>
        <p:nvSpPr>
          <p:cNvPr id="359" name="ZoneTexte 358">
            <a:extLst>
              <a:ext uri="{FF2B5EF4-FFF2-40B4-BE49-F238E27FC236}">
                <a16:creationId xmlns:a16="http://schemas.microsoft.com/office/drawing/2014/main" id="{B17A55F9-3C90-4D02-B1A7-69898512B1A2}"/>
              </a:ext>
            </a:extLst>
          </p:cNvPr>
          <p:cNvSpPr txBox="1"/>
          <p:nvPr/>
        </p:nvSpPr>
        <p:spPr>
          <a:xfrm>
            <a:off x="8560598" y="4100436"/>
            <a:ext cx="368300" cy="231775"/>
          </a:xfrm>
          <a:prstGeom prst="rect">
            <a:avLst/>
          </a:prstGeom>
          <a:noFill/>
        </p:spPr>
        <p:txBody>
          <a:bodyPr wrap="square" rtlCol="0">
            <a:spAutoFit/>
          </a:bodyPr>
          <a:lstStyle/>
          <a:p>
            <a:pPr algn="ctr"/>
            <a:r>
              <a:rPr lang="fr-FR" sz="900" b="1" dirty="0">
                <a:solidFill>
                  <a:schemeClr val="tx2"/>
                </a:solidFill>
                <a:latin typeface="Calibri" panose="020F0502020204030204" pitchFamily="34" charset="0"/>
                <a:cs typeface="Calibri" panose="020F0502020204030204" pitchFamily="34" charset="0"/>
              </a:rPr>
              <a:t>-</a:t>
            </a:r>
          </a:p>
        </p:txBody>
      </p:sp>
      <p:sp>
        <p:nvSpPr>
          <p:cNvPr id="366" name="ZoneTexte 365">
            <a:extLst>
              <a:ext uri="{FF2B5EF4-FFF2-40B4-BE49-F238E27FC236}">
                <a16:creationId xmlns:a16="http://schemas.microsoft.com/office/drawing/2014/main" id="{886E17A4-5421-4A86-A1AE-1A457E232E50}"/>
              </a:ext>
            </a:extLst>
          </p:cNvPr>
          <p:cNvSpPr txBox="1"/>
          <p:nvPr/>
        </p:nvSpPr>
        <p:spPr>
          <a:xfrm>
            <a:off x="8836024" y="4017333"/>
            <a:ext cx="590549" cy="261610"/>
          </a:xfrm>
          <a:prstGeom prst="rect">
            <a:avLst/>
          </a:prstGeom>
          <a:noFill/>
        </p:spPr>
        <p:txBody>
          <a:bodyPr wrap="square" rtlCol="0">
            <a:spAutoFit/>
          </a:bodyPr>
          <a:lstStyle/>
          <a:p>
            <a:pPr algn="ctr"/>
            <a:r>
              <a:rPr lang="fr-FR" sz="1050" b="1" dirty="0">
                <a:solidFill>
                  <a:srgbClr val="00B050"/>
                </a:solidFill>
                <a:latin typeface="Calibri" panose="020F0502020204030204" pitchFamily="34" charset="0"/>
                <a:cs typeface="Calibri" panose="020F0502020204030204" pitchFamily="34" charset="0"/>
              </a:rPr>
              <a:t>(-35)</a:t>
            </a:r>
          </a:p>
        </p:txBody>
      </p:sp>
      <p:pic>
        <p:nvPicPr>
          <p:cNvPr id="291" name="Image 290">
            <a:extLst>
              <a:ext uri="{FF2B5EF4-FFF2-40B4-BE49-F238E27FC236}">
                <a16:creationId xmlns:a16="http://schemas.microsoft.com/office/drawing/2014/main" id="{699BAE0F-CA3E-4DF5-8A7D-6CBCD17C9DE9}"/>
              </a:ext>
            </a:extLst>
          </p:cNvPr>
          <p:cNvPicPr>
            <a:picLocks/>
          </p:cNvPicPr>
          <p:nvPr/>
        </p:nvPicPr>
        <p:blipFill rotWithShape="1">
          <a:blip r:embed="rId83"/>
          <a:srcRect t="63342"/>
          <a:stretch/>
        </p:blipFill>
        <p:spPr>
          <a:xfrm>
            <a:off x="2200285" y="1373854"/>
            <a:ext cx="571643" cy="168301"/>
          </a:xfrm>
          <a:prstGeom prst="rect">
            <a:avLst/>
          </a:prstGeom>
        </p:spPr>
      </p:pic>
      <p:pic>
        <p:nvPicPr>
          <p:cNvPr id="185" name="Image 184">
            <a:extLst>
              <a:ext uri="{FF2B5EF4-FFF2-40B4-BE49-F238E27FC236}">
                <a16:creationId xmlns:a16="http://schemas.microsoft.com/office/drawing/2014/main" id="{44FC5ABB-B2FD-4502-8A15-9D17F9996D14}"/>
              </a:ext>
            </a:extLst>
          </p:cNvPr>
          <p:cNvPicPr>
            <a:picLocks noChangeAspect="1"/>
          </p:cNvPicPr>
          <p:nvPr/>
        </p:nvPicPr>
        <p:blipFill>
          <a:blip r:embed="rId82"/>
          <a:stretch>
            <a:fillRect/>
          </a:stretch>
        </p:blipFill>
        <p:spPr>
          <a:xfrm>
            <a:off x="1052273" y="1237249"/>
            <a:ext cx="646571" cy="430628"/>
          </a:xfrm>
          <a:prstGeom prst="rect">
            <a:avLst/>
          </a:prstGeom>
        </p:spPr>
      </p:pic>
      <p:sp>
        <p:nvSpPr>
          <p:cNvPr id="9" name="ZoneTexte 8">
            <a:extLst>
              <a:ext uri="{FF2B5EF4-FFF2-40B4-BE49-F238E27FC236}">
                <a16:creationId xmlns:a16="http://schemas.microsoft.com/office/drawing/2014/main" id="{3D55471C-F673-49AF-B6B6-D1F7793F450D}"/>
              </a:ext>
            </a:extLst>
          </p:cNvPr>
          <p:cNvSpPr txBox="1"/>
          <p:nvPr/>
        </p:nvSpPr>
        <p:spPr>
          <a:xfrm>
            <a:off x="199830" y="1841462"/>
            <a:ext cx="691966" cy="153888"/>
          </a:xfrm>
          <a:prstGeom prst="rect">
            <a:avLst/>
          </a:prstGeom>
          <a:noFill/>
        </p:spPr>
        <p:txBody>
          <a:bodyPr wrap="square" lIns="0" tIns="0" rIns="0" bIns="0" rtlCol="0">
            <a:spAutoFit/>
          </a:bodyPr>
          <a:lstStyle/>
          <a:p>
            <a:pPr algn="ctr"/>
            <a:r>
              <a:rPr lang="fr-FR" sz="1000" dirty="0">
                <a:solidFill>
                  <a:schemeClr val="tx2"/>
                </a:solidFill>
                <a:latin typeface="Calibri" panose="020F0502020204030204" pitchFamily="34" charset="0"/>
                <a:cs typeface="Calibri" panose="020F0502020204030204" pitchFamily="34" charset="0"/>
              </a:rPr>
              <a:t>Livraisons</a:t>
            </a:r>
          </a:p>
        </p:txBody>
      </p:sp>
      <p:sp>
        <p:nvSpPr>
          <p:cNvPr id="193" name="ZoneTexte 192">
            <a:extLst>
              <a:ext uri="{FF2B5EF4-FFF2-40B4-BE49-F238E27FC236}">
                <a16:creationId xmlns:a16="http://schemas.microsoft.com/office/drawing/2014/main" id="{7B7BA3D8-699D-46E4-809D-8C67089C0A5B}"/>
              </a:ext>
            </a:extLst>
          </p:cNvPr>
          <p:cNvSpPr txBox="1"/>
          <p:nvPr/>
        </p:nvSpPr>
        <p:spPr>
          <a:xfrm>
            <a:off x="218583" y="2159272"/>
            <a:ext cx="691966" cy="307777"/>
          </a:xfrm>
          <a:prstGeom prst="rect">
            <a:avLst/>
          </a:prstGeom>
          <a:noFill/>
        </p:spPr>
        <p:txBody>
          <a:bodyPr wrap="square" lIns="0" tIns="0" rIns="0" bIns="0" rtlCol="0">
            <a:spAutoFit/>
          </a:bodyPr>
          <a:lstStyle/>
          <a:p>
            <a:pPr algn="ctr"/>
            <a:r>
              <a:rPr lang="fr-FR" sz="1000" dirty="0">
                <a:solidFill>
                  <a:schemeClr val="tx2"/>
                </a:solidFill>
                <a:latin typeface="Calibri" panose="020F0502020204030204" pitchFamily="34" charset="0"/>
                <a:cs typeface="Calibri" panose="020F0502020204030204" pitchFamily="34" charset="0"/>
              </a:rPr>
              <a:t>Commandes brutes</a:t>
            </a:r>
          </a:p>
        </p:txBody>
      </p:sp>
      <p:sp>
        <p:nvSpPr>
          <p:cNvPr id="206" name="ZoneTexte 205">
            <a:extLst>
              <a:ext uri="{FF2B5EF4-FFF2-40B4-BE49-F238E27FC236}">
                <a16:creationId xmlns:a16="http://schemas.microsoft.com/office/drawing/2014/main" id="{157BCBAA-8D5A-4B20-A703-D44CEC7ACC46}"/>
              </a:ext>
            </a:extLst>
          </p:cNvPr>
          <p:cNvSpPr txBox="1"/>
          <p:nvPr/>
        </p:nvSpPr>
        <p:spPr>
          <a:xfrm>
            <a:off x="222254" y="2656140"/>
            <a:ext cx="691966" cy="153888"/>
          </a:xfrm>
          <a:prstGeom prst="rect">
            <a:avLst/>
          </a:prstGeom>
          <a:noFill/>
        </p:spPr>
        <p:txBody>
          <a:bodyPr wrap="square" lIns="0" tIns="0" rIns="0" bIns="0" rtlCol="0">
            <a:spAutoFit/>
          </a:bodyPr>
          <a:lstStyle/>
          <a:p>
            <a:pPr algn="ctr"/>
            <a:r>
              <a:rPr lang="fr-FR" sz="1000" dirty="0">
                <a:solidFill>
                  <a:schemeClr val="tx2"/>
                </a:solidFill>
                <a:latin typeface="Calibri" panose="020F0502020204030204" pitchFamily="34" charset="0"/>
                <a:cs typeface="Calibri" panose="020F0502020204030204" pitchFamily="34" charset="0"/>
              </a:rPr>
              <a:t>Annulations</a:t>
            </a:r>
          </a:p>
        </p:txBody>
      </p:sp>
      <p:sp>
        <p:nvSpPr>
          <p:cNvPr id="211" name="ZoneTexte 210">
            <a:extLst>
              <a:ext uri="{FF2B5EF4-FFF2-40B4-BE49-F238E27FC236}">
                <a16:creationId xmlns:a16="http://schemas.microsoft.com/office/drawing/2014/main" id="{1529A971-253A-4069-AA3C-E8F2142DE640}"/>
              </a:ext>
            </a:extLst>
          </p:cNvPr>
          <p:cNvSpPr txBox="1"/>
          <p:nvPr/>
        </p:nvSpPr>
        <p:spPr>
          <a:xfrm>
            <a:off x="196236" y="3004607"/>
            <a:ext cx="691966" cy="307777"/>
          </a:xfrm>
          <a:prstGeom prst="rect">
            <a:avLst/>
          </a:prstGeom>
          <a:noFill/>
        </p:spPr>
        <p:txBody>
          <a:bodyPr wrap="square" lIns="0" tIns="0" rIns="0" bIns="0" rtlCol="0">
            <a:spAutoFit/>
          </a:bodyPr>
          <a:lstStyle/>
          <a:p>
            <a:pPr algn="ctr"/>
            <a:r>
              <a:rPr lang="fr-FR" sz="1000" dirty="0">
                <a:solidFill>
                  <a:schemeClr val="tx2"/>
                </a:solidFill>
                <a:latin typeface="Calibri" panose="020F0502020204030204" pitchFamily="34" charset="0"/>
                <a:cs typeface="Calibri" panose="020F0502020204030204" pitchFamily="34" charset="0"/>
              </a:rPr>
              <a:t>Avions </a:t>
            </a:r>
          </a:p>
          <a:p>
            <a:pPr algn="ctr"/>
            <a:r>
              <a:rPr lang="fr-FR" sz="1000" dirty="0">
                <a:solidFill>
                  <a:schemeClr val="tx2"/>
                </a:solidFill>
                <a:latin typeface="Calibri" panose="020F0502020204030204" pitchFamily="34" charset="0"/>
                <a:cs typeface="Calibri" panose="020F0502020204030204" pitchFamily="34" charset="0"/>
              </a:rPr>
              <a:t>en stock</a:t>
            </a:r>
          </a:p>
        </p:txBody>
      </p:sp>
      <p:graphicFrame>
        <p:nvGraphicFramePr>
          <p:cNvPr id="20" name="Tableau 20">
            <a:extLst>
              <a:ext uri="{FF2B5EF4-FFF2-40B4-BE49-F238E27FC236}">
                <a16:creationId xmlns:a16="http://schemas.microsoft.com/office/drawing/2014/main" id="{93A48EBA-2AD7-476B-9F3C-BD0243C4D4A9}"/>
              </a:ext>
            </a:extLst>
          </p:cNvPr>
          <p:cNvGraphicFramePr>
            <a:graphicFrameLocks noGrp="1"/>
          </p:cNvGraphicFramePr>
          <p:nvPr>
            <p:extLst>
              <p:ext uri="{D42A27DB-BD31-4B8C-83A1-F6EECF244321}">
                <p14:modId xmlns:p14="http://schemas.microsoft.com/office/powerpoint/2010/main" val="3697371249"/>
              </p:ext>
            </p:extLst>
          </p:nvPr>
        </p:nvGraphicFramePr>
        <p:xfrm>
          <a:off x="1015820" y="1673739"/>
          <a:ext cx="765890" cy="1701272"/>
        </p:xfrm>
        <a:graphic>
          <a:graphicData uri="http://schemas.openxmlformats.org/drawingml/2006/table">
            <a:tbl>
              <a:tblPr>
                <a:tableStyleId>{1FECB4D8-DB02-4DC6-A0A2-4F2EBAE1DC90}</a:tableStyleId>
              </a:tblPr>
              <a:tblGrid>
                <a:gridCol w="382945">
                  <a:extLst>
                    <a:ext uri="{9D8B030D-6E8A-4147-A177-3AD203B41FA5}">
                      <a16:colId xmlns:a16="http://schemas.microsoft.com/office/drawing/2014/main" val="2064618146"/>
                    </a:ext>
                  </a:extLst>
                </a:gridCol>
                <a:gridCol w="382945">
                  <a:extLst>
                    <a:ext uri="{9D8B030D-6E8A-4147-A177-3AD203B41FA5}">
                      <a16:colId xmlns:a16="http://schemas.microsoft.com/office/drawing/2014/main" val="3994960142"/>
                    </a:ext>
                  </a:extLst>
                </a:gridCol>
              </a:tblGrid>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5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fr-FR" sz="1000" b="1" dirty="0">
                          <a:solidFill>
                            <a:schemeClr val="accent4"/>
                          </a:solidFill>
                          <a:latin typeface="Calibri" panose="020F0502020204030204" pitchFamily="34" charset="0"/>
                          <a:cs typeface="Calibri" panose="020F0502020204030204" pitchFamily="34" charset="0"/>
                        </a:rPr>
                        <a:t>9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39391699"/>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31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fr-FR" sz="1000" b="1" dirty="0">
                          <a:solidFill>
                            <a:schemeClr val="accent4"/>
                          </a:solidFill>
                          <a:latin typeface="Calibri" panose="020F0502020204030204" pitchFamily="34" charset="0"/>
                          <a:cs typeface="Calibri" panose="020F0502020204030204" pitchFamily="34" charset="0"/>
                        </a:rPr>
                        <a:t>16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23324000"/>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7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fr-FR" sz="1000" b="1" dirty="0">
                          <a:solidFill>
                            <a:schemeClr val="accent4"/>
                          </a:solidFill>
                          <a:latin typeface="Calibri" panose="020F0502020204030204" pitchFamily="34" charset="0"/>
                          <a:cs typeface="Calibri" panose="020F0502020204030204" pitchFamily="34" charset="0"/>
                        </a:rPr>
                        <a:t>-2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56985296"/>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13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fr-FR" sz="1000" b="1" dirty="0">
                          <a:solidFill>
                            <a:schemeClr val="accent4"/>
                          </a:solidFill>
                          <a:latin typeface="Calibri" panose="020F0502020204030204" pitchFamily="34" charset="0"/>
                          <a:cs typeface="Calibri" panose="020F0502020204030204" pitchFamily="34" charset="0"/>
                        </a:rPr>
                        <a:t>9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31722629"/>
                  </a:ext>
                </a:extLst>
              </a:tr>
            </a:tbl>
          </a:graphicData>
        </a:graphic>
      </p:graphicFrame>
      <p:graphicFrame>
        <p:nvGraphicFramePr>
          <p:cNvPr id="214" name="Tableau 20">
            <a:extLst>
              <a:ext uri="{FF2B5EF4-FFF2-40B4-BE49-F238E27FC236}">
                <a16:creationId xmlns:a16="http://schemas.microsoft.com/office/drawing/2014/main" id="{6A0534B6-8444-4A56-BB53-5AEEDA1F0D0E}"/>
              </a:ext>
            </a:extLst>
          </p:cNvPr>
          <p:cNvGraphicFramePr>
            <a:graphicFrameLocks noGrp="1"/>
          </p:cNvGraphicFramePr>
          <p:nvPr>
            <p:extLst>
              <p:ext uri="{D42A27DB-BD31-4B8C-83A1-F6EECF244321}">
                <p14:modId xmlns:p14="http://schemas.microsoft.com/office/powerpoint/2010/main" val="3394979228"/>
              </p:ext>
            </p:extLst>
          </p:nvPr>
        </p:nvGraphicFramePr>
        <p:xfrm>
          <a:off x="2042226" y="1686458"/>
          <a:ext cx="788914" cy="1701272"/>
        </p:xfrm>
        <a:graphic>
          <a:graphicData uri="http://schemas.openxmlformats.org/drawingml/2006/table">
            <a:tbl>
              <a:tblPr>
                <a:tableStyleId>{1FECB4D8-DB02-4DC6-A0A2-4F2EBAE1DC90}</a:tableStyleId>
              </a:tblPr>
              <a:tblGrid>
                <a:gridCol w="394457">
                  <a:extLst>
                    <a:ext uri="{9D8B030D-6E8A-4147-A177-3AD203B41FA5}">
                      <a16:colId xmlns:a16="http://schemas.microsoft.com/office/drawing/2014/main" val="2064618146"/>
                    </a:ext>
                  </a:extLst>
                </a:gridCol>
                <a:gridCol w="394457">
                  <a:extLst>
                    <a:ext uri="{9D8B030D-6E8A-4147-A177-3AD203B41FA5}">
                      <a16:colId xmlns:a16="http://schemas.microsoft.com/office/drawing/2014/main" val="3095430145"/>
                    </a:ext>
                  </a:extLst>
                </a:gridCol>
              </a:tblGrid>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3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fr-FR" sz="1000" b="1" dirty="0">
                          <a:solidFill>
                            <a:schemeClr val="accent4"/>
                          </a:solidFill>
                          <a:latin typeface="Calibri" panose="020F0502020204030204" pitchFamily="34" charset="0"/>
                          <a:cs typeface="Calibri" panose="020F0502020204030204" pitchFamily="34" charset="0"/>
                        </a:rPr>
                        <a:t>3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39391699"/>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10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fr-FR" sz="1000" b="1" dirty="0">
                          <a:solidFill>
                            <a:schemeClr val="accent4"/>
                          </a:solidFill>
                          <a:latin typeface="Calibri" panose="020F0502020204030204" pitchFamily="34" charset="0"/>
                          <a:cs typeface="Calibri" panose="020F0502020204030204" pitchFamily="34" charset="0"/>
                        </a:rPr>
                        <a:t>8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23324000"/>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1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fr-FR" sz="1000" b="1" dirty="0">
                          <a:solidFill>
                            <a:schemeClr val="accent4"/>
                          </a:solidFill>
                          <a:latin typeface="Calibri" panose="020F0502020204030204" pitchFamily="34" charset="0"/>
                          <a:cs typeface="Calibri" panose="020F0502020204030204" pitchFamily="34" charset="0"/>
                        </a:rPr>
                        <a:t>-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56985296"/>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48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fr-FR" sz="1000" b="1" dirty="0">
                          <a:solidFill>
                            <a:schemeClr val="accent4"/>
                          </a:solidFill>
                          <a:latin typeface="Calibri" panose="020F0502020204030204" pitchFamily="34" charset="0"/>
                          <a:cs typeface="Calibri" panose="020F0502020204030204" pitchFamily="34" charset="0"/>
                        </a:rPr>
                        <a:t>47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31722629"/>
                  </a:ext>
                </a:extLst>
              </a:tr>
            </a:tbl>
          </a:graphicData>
        </a:graphic>
      </p:graphicFrame>
      <p:cxnSp>
        <p:nvCxnSpPr>
          <p:cNvPr id="215" name="Connecteur droit 214">
            <a:extLst>
              <a:ext uri="{FF2B5EF4-FFF2-40B4-BE49-F238E27FC236}">
                <a16:creationId xmlns:a16="http://schemas.microsoft.com/office/drawing/2014/main" id="{7194423D-DA2E-4AA9-A87C-F19BCCFE6E94}"/>
              </a:ext>
            </a:extLst>
          </p:cNvPr>
          <p:cNvCxnSpPr>
            <a:cxnSpLocks/>
          </p:cNvCxnSpPr>
          <p:nvPr/>
        </p:nvCxnSpPr>
        <p:spPr>
          <a:xfrm>
            <a:off x="1884211" y="1537138"/>
            <a:ext cx="0" cy="1798638"/>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41" name="ZoneTexte 240">
            <a:extLst>
              <a:ext uri="{FF2B5EF4-FFF2-40B4-BE49-F238E27FC236}">
                <a16:creationId xmlns:a16="http://schemas.microsoft.com/office/drawing/2014/main" id="{60E0184D-3E44-45FF-8DCD-30320905649A}"/>
              </a:ext>
            </a:extLst>
          </p:cNvPr>
          <p:cNvSpPr txBox="1"/>
          <p:nvPr/>
        </p:nvSpPr>
        <p:spPr>
          <a:xfrm>
            <a:off x="10916557" y="6257839"/>
            <a:ext cx="1173873" cy="184666"/>
          </a:xfrm>
          <a:prstGeom prst="rect">
            <a:avLst/>
          </a:prstGeom>
          <a:noFill/>
        </p:spPr>
        <p:txBody>
          <a:bodyPr wrap="square" rtlCol="0">
            <a:spAutoFit/>
          </a:bodyPr>
          <a:lstStyle/>
          <a:p>
            <a:r>
              <a:rPr lang="fr-FR" sz="600" dirty="0">
                <a:solidFill>
                  <a:schemeClr val="tx2"/>
                </a:solidFill>
              </a:rPr>
              <a:t> Source : estimations </a:t>
            </a:r>
            <a:r>
              <a:rPr lang="fr-FR" sz="600" dirty="0" err="1">
                <a:solidFill>
                  <a:schemeClr val="tx2"/>
                </a:solidFill>
              </a:rPr>
              <a:t>inernes</a:t>
            </a:r>
            <a:endParaRPr lang="fr-FR" sz="600" dirty="0">
              <a:solidFill>
                <a:schemeClr val="tx2"/>
              </a:solidFill>
            </a:endParaRPr>
          </a:p>
        </p:txBody>
      </p:sp>
      <p:sp>
        <p:nvSpPr>
          <p:cNvPr id="242" name="ZoneTexte 241">
            <a:extLst>
              <a:ext uri="{FF2B5EF4-FFF2-40B4-BE49-F238E27FC236}">
                <a16:creationId xmlns:a16="http://schemas.microsoft.com/office/drawing/2014/main" id="{CDC85699-793F-4A70-B9B6-9D55CF5F68E1}"/>
              </a:ext>
            </a:extLst>
          </p:cNvPr>
          <p:cNvSpPr txBox="1"/>
          <p:nvPr/>
        </p:nvSpPr>
        <p:spPr>
          <a:xfrm>
            <a:off x="11059746" y="3495791"/>
            <a:ext cx="1444644" cy="184666"/>
          </a:xfrm>
          <a:prstGeom prst="rect">
            <a:avLst/>
          </a:prstGeom>
          <a:noFill/>
        </p:spPr>
        <p:txBody>
          <a:bodyPr wrap="square" rtlCol="0">
            <a:spAutoFit/>
          </a:bodyPr>
          <a:lstStyle/>
          <a:p>
            <a:r>
              <a:rPr lang="fr-FR" sz="600" dirty="0">
                <a:solidFill>
                  <a:schemeClr val="tx2"/>
                </a:solidFill>
              </a:rPr>
              <a:t> Source : Airbus, Boeing</a:t>
            </a:r>
          </a:p>
        </p:txBody>
      </p:sp>
      <p:grpSp>
        <p:nvGrpSpPr>
          <p:cNvPr id="23" name="Groupe 22">
            <a:extLst>
              <a:ext uri="{FF2B5EF4-FFF2-40B4-BE49-F238E27FC236}">
                <a16:creationId xmlns:a16="http://schemas.microsoft.com/office/drawing/2014/main" id="{0D795AFA-2D29-4CAE-B26D-3434FEF16F46}"/>
              </a:ext>
            </a:extLst>
          </p:cNvPr>
          <p:cNvGrpSpPr/>
          <p:nvPr/>
        </p:nvGrpSpPr>
        <p:grpSpPr>
          <a:xfrm>
            <a:off x="3686519" y="3579760"/>
            <a:ext cx="2988000" cy="230832"/>
            <a:chOff x="4945753" y="3579760"/>
            <a:chExt cx="2196000" cy="230832"/>
          </a:xfrm>
        </p:grpSpPr>
        <p:sp>
          <p:nvSpPr>
            <p:cNvPr id="247" name="ZoneTexte 246">
              <a:extLst>
                <a:ext uri="{FF2B5EF4-FFF2-40B4-BE49-F238E27FC236}">
                  <a16:creationId xmlns:a16="http://schemas.microsoft.com/office/drawing/2014/main" id="{773A6194-CB64-46DA-B1B7-4472C2143038}"/>
                </a:ext>
              </a:extLst>
            </p:cNvPr>
            <p:cNvSpPr txBox="1"/>
            <p:nvPr/>
          </p:nvSpPr>
          <p:spPr>
            <a:xfrm>
              <a:off x="5834386" y="3579760"/>
              <a:ext cx="418735" cy="230832"/>
            </a:xfrm>
            <a:prstGeom prst="rect">
              <a:avLst/>
            </a:prstGeom>
            <a:noFill/>
          </p:spPr>
          <p:txBody>
            <a:bodyPr wrap="square" rtlCol="0">
              <a:spAutoFit/>
            </a:bodyPr>
            <a:lstStyle/>
            <a:p>
              <a:pPr algn="ctr"/>
              <a:r>
                <a:rPr lang="fr-FR" sz="900" dirty="0">
                  <a:solidFill>
                    <a:schemeClr val="tx2"/>
                  </a:solidFill>
                  <a:latin typeface="Calibri" panose="020F0502020204030204" pitchFamily="34" charset="0"/>
                  <a:cs typeface="Calibri" panose="020F0502020204030204" pitchFamily="34" charset="0"/>
                </a:rPr>
                <a:t>2021</a:t>
              </a:r>
            </a:p>
          </p:txBody>
        </p:sp>
        <p:cxnSp>
          <p:nvCxnSpPr>
            <p:cNvPr id="245" name="Connecteur droit 244">
              <a:extLst>
                <a:ext uri="{FF2B5EF4-FFF2-40B4-BE49-F238E27FC236}">
                  <a16:creationId xmlns:a16="http://schemas.microsoft.com/office/drawing/2014/main" id="{AFDB29DF-5506-4336-A5B9-B7DDA77D3DDB}"/>
                </a:ext>
              </a:extLst>
            </p:cNvPr>
            <p:cNvCxnSpPr>
              <a:cxnSpLocks/>
            </p:cNvCxnSpPr>
            <p:nvPr/>
          </p:nvCxnSpPr>
          <p:spPr>
            <a:xfrm>
              <a:off x="4945753" y="3598149"/>
              <a:ext cx="219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5" name="ZoneTexte 24">
            <a:extLst>
              <a:ext uri="{FF2B5EF4-FFF2-40B4-BE49-F238E27FC236}">
                <a16:creationId xmlns:a16="http://schemas.microsoft.com/office/drawing/2014/main" id="{09F096B1-AFB1-4407-9A5A-FB8F47A3DF9F}"/>
              </a:ext>
            </a:extLst>
          </p:cNvPr>
          <p:cNvSpPr txBox="1"/>
          <p:nvPr/>
        </p:nvSpPr>
        <p:spPr>
          <a:xfrm>
            <a:off x="1002765" y="1571823"/>
            <a:ext cx="396000" cy="123111"/>
          </a:xfrm>
          <a:prstGeom prst="rect">
            <a:avLst/>
          </a:prstGeom>
          <a:noFill/>
        </p:spPr>
        <p:txBody>
          <a:bodyPr wrap="square" lIns="0" tIns="0" rIns="0" bIns="0" rtlCol="0">
            <a:spAutoFit/>
          </a:bodyPr>
          <a:lstStyle/>
          <a:p>
            <a:pPr algn="ctr"/>
            <a:r>
              <a:rPr lang="fr-FR" sz="800" dirty="0">
                <a:solidFill>
                  <a:schemeClr val="tx2"/>
                </a:solidFill>
              </a:rPr>
              <a:t>11/21</a:t>
            </a:r>
          </a:p>
        </p:txBody>
      </p:sp>
      <p:sp>
        <p:nvSpPr>
          <p:cNvPr id="283" name="ZoneTexte 282">
            <a:extLst>
              <a:ext uri="{FF2B5EF4-FFF2-40B4-BE49-F238E27FC236}">
                <a16:creationId xmlns:a16="http://schemas.microsoft.com/office/drawing/2014/main" id="{781D2122-F5A0-46C7-A85E-C86F40A5ABDC}"/>
              </a:ext>
            </a:extLst>
          </p:cNvPr>
          <p:cNvSpPr txBox="1"/>
          <p:nvPr/>
        </p:nvSpPr>
        <p:spPr>
          <a:xfrm>
            <a:off x="1376259" y="1571823"/>
            <a:ext cx="396000" cy="123111"/>
          </a:xfrm>
          <a:prstGeom prst="rect">
            <a:avLst/>
          </a:prstGeom>
          <a:noFill/>
        </p:spPr>
        <p:txBody>
          <a:bodyPr wrap="square" lIns="0" tIns="0" rIns="0" bIns="0" rtlCol="0">
            <a:spAutoFit/>
          </a:bodyPr>
          <a:lstStyle/>
          <a:p>
            <a:pPr algn="ctr"/>
            <a:r>
              <a:rPr lang="fr-FR" sz="800" dirty="0">
                <a:solidFill>
                  <a:schemeClr val="tx2"/>
                </a:solidFill>
              </a:rPr>
              <a:t>12/21</a:t>
            </a:r>
          </a:p>
        </p:txBody>
      </p:sp>
      <p:sp>
        <p:nvSpPr>
          <p:cNvPr id="284" name="ZoneTexte 283">
            <a:extLst>
              <a:ext uri="{FF2B5EF4-FFF2-40B4-BE49-F238E27FC236}">
                <a16:creationId xmlns:a16="http://schemas.microsoft.com/office/drawing/2014/main" id="{86D0D7AF-8E07-469B-BDA9-2FC6C1F08AC2}"/>
              </a:ext>
            </a:extLst>
          </p:cNvPr>
          <p:cNvSpPr txBox="1"/>
          <p:nvPr/>
        </p:nvSpPr>
        <p:spPr>
          <a:xfrm>
            <a:off x="2045459" y="1596662"/>
            <a:ext cx="396000" cy="123111"/>
          </a:xfrm>
          <a:prstGeom prst="rect">
            <a:avLst/>
          </a:prstGeom>
          <a:noFill/>
        </p:spPr>
        <p:txBody>
          <a:bodyPr wrap="square" lIns="0" tIns="0" rIns="0" bIns="0" rtlCol="0">
            <a:spAutoFit/>
          </a:bodyPr>
          <a:lstStyle/>
          <a:p>
            <a:pPr algn="ctr"/>
            <a:r>
              <a:rPr lang="fr-FR" sz="800" dirty="0">
                <a:solidFill>
                  <a:schemeClr val="tx2"/>
                </a:solidFill>
              </a:rPr>
              <a:t>11/21</a:t>
            </a:r>
          </a:p>
        </p:txBody>
      </p:sp>
      <p:sp>
        <p:nvSpPr>
          <p:cNvPr id="285" name="ZoneTexte 284">
            <a:extLst>
              <a:ext uri="{FF2B5EF4-FFF2-40B4-BE49-F238E27FC236}">
                <a16:creationId xmlns:a16="http://schemas.microsoft.com/office/drawing/2014/main" id="{D2F9B877-CBEC-4AB7-BCA5-B5BB83E99E7D}"/>
              </a:ext>
            </a:extLst>
          </p:cNvPr>
          <p:cNvSpPr txBox="1"/>
          <p:nvPr/>
        </p:nvSpPr>
        <p:spPr>
          <a:xfrm>
            <a:off x="2452817" y="1596662"/>
            <a:ext cx="396000" cy="123111"/>
          </a:xfrm>
          <a:prstGeom prst="rect">
            <a:avLst/>
          </a:prstGeom>
          <a:noFill/>
        </p:spPr>
        <p:txBody>
          <a:bodyPr wrap="square" lIns="0" tIns="0" rIns="0" bIns="0" rtlCol="0">
            <a:spAutoFit/>
          </a:bodyPr>
          <a:lstStyle/>
          <a:p>
            <a:pPr algn="ctr"/>
            <a:r>
              <a:rPr lang="fr-FR" sz="800" dirty="0">
                <a:solidFill>
                  <a:schemeClr val="tx2"/>
                </a:solidFill>
              </a:rPr>
              <a:t>12/21</a:t>
            </a:r>
          </a:p>
        </p:txBody>
      </p:sp>
      <p:grpSp>
        <p:nvGrpSpPr>
          <p:cNvPr id="176" name="Groupe 175">
            <a:extLst>
              <a:ext uri="{FF2B5EF4-FFF2-40B4-BE49-F238E27FC236}">
                <a16:creationId xmlns:a16="http://schemas.microsoft.com/office/drawing/2014/main" id="{4C8E8CF8-5412-4936-89D9-18215D7841D9}"/>
              </a:ext>
            </a:extLst>
          </p:cNvPr>
          <p:cNvGrpSpPr/>
          <p:nvPr/>
        </p:nvGrpSpPr>
        <p:grpSpPr>
          <a:xfrm>
            <a:off x="3074994" y="6096141"/>
            <a:ext cx="777560" cy="231775"/>
            <a:chOff x="472311" y="3568700"/>
            <a:chExt cx="777698" cy="231775"/>
          </a:xfrm>
        </p:grpSpPr>
        <p:sp>
          <p:nvSpPr>
            <p:cNvPr id="177" name="ZoneTexte 176">
              <a:extLst>
                <a:ext uri="{FF2B5EF4-FFF2-40B4-BE49-F238E27FC236}">
                  <a16:creationId xmlns:a16="http://schemas.microsoft.com/office/drawing/2014/main" id="{A37983EC-850D-400C-B82A-3D4A387E878F}"/>
                </a:ext>
              </a:extLst>
            </p:cNvPr>
            <p:cNvSpPr txBox="1"/>
            <p:nvPr/>
          </p:nvSpPr>
          <p:spPr>
            <a:xfrm>
              <a:off x="472311" y="3568700"/>
              <a:ext cx="777698" cy="231775"/>
            </a:xfrm>
            <a:prstGeom prst="rect">
              <a:avLst/>
            </a:prstGeom>
            <a:noFill/>
          </p:spPr>
          <p:txBody>
            <a:bodyPr wrap="square" rtlCol="0">
              <a:spAutoFit/>
            </a:bodyPr>
            <a:lstStyle/>
            <a:p>
              <a:pPr algn="ctr"/>
              <a:r>
                <a:rPr lang="fr-FR" sz="900" dirty="0">
                  <a:solidFill>
                    <a:schemeClr val="tx2"/>
                  </a:solidFill>
                  <a:latin typeface="Calibri" panose="020F0502020204030204" pitchFamily="34" charset="0"/>
                  <a:cs typeface="Calibri" panose="020F0502020204030204" pitchFamily="34" charset="0"/>
                </a:rPr>
                <a:t>2020</a:t>
              </a:r>
            </a:p>
          </p:txBody>
        </p:sp>
        <p:cxnSp>
          <p:nvCxnSpPr>
            <p:cNvPr id="182" name="Connecteur droit 181">
              <a:extLst>
                <a:ext uri="{FF2B5EF4-FFF2-40B4-BE49-F238E27FC236}">
                  <a16:creationId xmlns:a16="http://schemas.microsoft.com/office/drawing/2014/main" id="{07A55685-C7B4-4401-941E-1166B8071A5C}"/>
                </a:ext>
              </a:extLst>
            </p:cNvPr>
            <p:cNvCxnSpPr>
              <a:cxnSpLocks/>
            </p:cNvCxnSpPr>
            <p:nvPr/>
          </p:nvCxnSpPr>
          <p:spPr>
            <a:xfrm>
              <a:off x="789218" y="3579099"/>
              <a:ext cx="14402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83" name="Groupe 182">
            <a:extLst>
              <a:ext uri="{FF2B5EF4-FFF2-40B4-BE49-F238E27FC236}">
                <a16:creationId xmlns:a16="http://schemas.microsoft.com/office/drawing/2014/main" id="{EECA1BE5-4BF6-4928-A42C-D241A10D70A5}"/>
              </a:ext>
            </a:extLst>
          </p:cNvPr>
          <p:cNvGrpSpPr/>
          <p:nvPr/>
        </p:nvGrpSpPr>
        <p:grpSpPr>
          <a:xfrm>
            <a:off x="3677431" y="6088150"/>
            <a:ext cx="2988000" cy="230832"/>
            <a:chOff x="4945753" y="3579760"/>
            <a:chExt cx="2196000" cy="230832"/>
          </a:xfrm>
        </p:grpSpPr>
        <p:sp>
          <p:nvSpPr>
            <p:cNvPr id="184" name="ZoneTexte 183">
              <a:extLst>
                <a:ext uri="{FF2B5EF4-FFF2-40B4-BE49-F238E27FC236}">
                  <a16:creationId xmlns:a16="http://schemas.microsoft.com/office/drawing/2014/main" id="{A37A0E97-805F-40BA-B48B-EE69E6626A1B}"/>
                </a:ext>
              </a:extLst>
            </p:cNvPr>
            <p:cNvSpPr txBox="1"/>
            <p:nvPr/>
          </p:nvSpPr>
          <p:spPr>
            <a:xfrm>
              <a:off x="5834386" y="3579760"/>
              <a:ext cx="418735" cy="230832"/>
            </a:xfrm>
            <a:prstGeom prst="rect">
              <a:avLst/>
            </a:prstGeom>
            <a:noFill/>
          </p:spPr>
          <p:txBody>
            <a:bodyPr wrap="square" rtlCol="0">
              <a:spAutoFit/>
            </a:bodyPr>
            <a:lstStyle/>
            <a:p>
              <a:pPr algn="ctr"/>
              <a:r>
                <a:rPr lang="fr-FR" sz="900" dirty="0">
                  <a:solidFill>
                    <a:schemeClr val="tx2"/>
                  </a:solidFill>
                  <a:latin typeface="Calibri" panose="020F0502020204030204" pitchFamily="34" charset="0"/>
                  <a:cs typeface="Calibri" panose="020F0502020204030204" pitchFamily="34" charset="0"/>
                </a:rPr>
                <a:t>2021</a:t>
              </a:r>
            </a:p>
          </p:txBody>
        </p:sp>
        <p:cxnSp>
          <p:nvCxnSpPr>
            <p:cNvPr id="186" name="Connecteur droit 185">
              <a:extLst>
                <a:ext uri="{FF2B5EF4-FFF2-40B4-BE49-F238E27FC236}">
                  <a16:creationId xmlns:a16="http://schemas.microsoft.com/office/drawing/2014/main" id="{E389F983-B78E-49B8-94EE-79DA9F4D1C94}"/>
                </a:ext>
              </a:extLst>
            </p:cNvPr>
            <p:cNvCxnSpPr>
              <a:cxnSpLocks/>
            </p:cNvCxnSpPr>
            <p:nvPr/>
          </p:nvCxnSpPr>
          <p:spPr>
            <a:xfrm>
              <a:off x="4945753" y="3598149"/>
              <a:ext cx="219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52" name="Espace réservé du texte 2">
            <a:extLst>
              <a:ext uri="{FF2B5EF4-FFF2-40B4-BE49-F238E27FC236}">
                <a16:creationId xmlns:a16="http://schemas.microsoft.com/office/drawing/2014/main" id="{41816C68-6642-4D56-9676-999930E1FC8E}"/>
              </a:ext>
            </a:extLst>
          </p:cNvPr>
          <p:cNvSpPr>
            <a:spLocks noGrp="1"/>
          </p:cNvSpPr>
          <p:nvPr>
            <p:custDataLst>
              <p:tags r:id="rId48"/>
            </p:custDataLst>
          </p:nvPr>
        </p:nvSpPr>
        <p:spPr bwMode="auto">
          <a:xfrm>
            <a:off x="4220095" y="5928437"/>
            <a:ext cx="825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sym typeface="Calibri" panose="020F0502020204030204" pitchFamily="34" charset="0"/>
              </a:rPr>
              <a:t>M</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53" name="Espace réservé du texte 2">
            <a:extLst>
              <a:ext uri="{FF2B5EF4-FFF2-40B4-BE49-F238E27FC236}">
                <a16:creationId xmlns:a16="http://schemas.microsoft.com/office/drawing/2014/main" id="{83E3DCCF-464C-459F-8352-740D2B7E45A0}"/>
              </a:ext>
            </a:extLst>
          </p:cNvPr>
          <p:cNvSpPr>
            <a:spLocks noGrp="1"/>
          </p:cNvSpPr>
          <p:nvPr>
            <p:custDataLst>
              <p:tags r:id="rId49"/>
            </p:custDataLst>
          </p:nvPr>
        </p:nvSpPr>
        <p:spPr bwMode="auto">
          <a:xfrm>
            <a:off x="5818887" y="5928437"/>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S</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56" name="Espace réservé du texte 2">
            <a:extLst>
              <a:ext uri="{FF2B5EF4-FFF2-40B4-BE49-F238E27FC236}">
                <a16:creationId xmlns:a16="http://schemas.microsoft.com/office/drawing/2014/main" id="{B6F66CE4-8C1D-479C-9D27-FA3D06E098B0}"/>
              </a:ext>
            </a:extLst>
          </p:cNvPr>
          <p:cNvSpPr>
            <a:spLocks noGrp="1"/>
          </p:cNvSpPr>
          <p:nvPr>
            <p:custDataLst>
              <p:tags r:id="rId50"/>
            </p:custDataLst>
          </p:nvPr>
        </p:nvSpPr>
        <p:spPr bwMode="auto">
          <a:xfrm>
            <a:off x="3430224" y="5928438"/>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sym typeface="Calibri" panose="020F0502020204030204" pitchFamily="34" charset="0"/>
              </a:rPr>
              <a:t>D</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57" name="Espace réservé du texte 2">
            <a:extLst>
              <a:ext uri="{FF2B5EF4-FFF2-40B4-BE49-F238E27FC236}">
                <a16:creationId xmlns:a16="http://schemas.microsoft.com/office/drawing/2014/main" id="{77002A85-59DA-4BF5-832D-72F970130B4B}"/>
              </a:ext>
            </a:extLst>
          </p:cNvPr>
          <p:cNvSpPr>
            <a:spLocks noGrp="1"/>
          </p:cNvSpPr>
          <p:nvPr>
            <p:custDataLst>
              <p:tags r:id="rId51"/>
            </p:custDataLst>
          </p:nvPr>
        </p:nvSpPr>
        <p:spPr bwMode="auto">
          <a:xfrm>
            <a:off x="3678698" y="5928438"/>
            <a:ext cx="889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sym typeface="Calibri" panose="020F0502020204030204" pitchFamily="34" charset="0"/>
              </a:rPr>
              <a:t>J</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69" name="Espace réservé du texte 2">
            <a:extLst>
              <a:ext uri="{FF2B5EF4-FFF2-40B4-BE49-F238E27FC236}">
                <a16:creationId xmlns:a16="http://schemas.microsoft.com/office/drawing/2014/main" id="{E4A645B9-73D3-4EA6-A625-EE3F14BDA54D}"/>
              </a:ext>
            </a:extLst>
          </p:cNvPr>
          <p:cNvSpPr>
            <a:spLocks noGrp="1"/>
          </p:cNvSpPr>
          <p:nvPr>
            <p:custDataLst>
              <p:tags r:id="rId52"/>
            </p:custDataLst>
          </p:nvPr>
        </p:nvSpPr>
        <p:spPr bwMode="auto">
          <a:xfrm>
            <a:off x="3950984" y="5928438"/>
            <a:ext cx="85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sym typeface="Calibri" panose="020F0502020204030204" pitchFamily="34" charset="0"/>
              </a:rPr>
              <a:t>F</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70" name="Espace réservé du texte 2">
            <a:extLst>
              <a:ext uri="{FF2B5EF4-FFF2-40B4-BE49-F238E27FC236}">
                <a16:creationId xmlns:a16="http://schemas.microsoft.com/office/drawing/2014/main" id="{F87C8193-2E26-4149-9DE8-BB93E91C2C20}"/>
              </a:ext>
            </a:extLst>
          </p:cNvPr>
          <p:cNvSpPr>
            <a:spLocks noGrp="1"/>
          </p:cNvSpPr>
          <p:nvPr>
            <p:custDataLst>
              <p:tags r:id="rId53"/>
            </p:custDataLst>
          </p:nvPr>
        </p:nvSpPr>
        <p:spPr bwMode="auto">
          <a:xfrm>
            <a:off x="4486031" y="5928437"/>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A</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71" name="Espace réservé du texte 2">
            <a:extLst>
              <a:ext uri="{FF2B5EF4-FFF2-40B4-BE49-F238E27FC236}">
                <a16:creationId xmlns:a16="http://schemas.microsoft.com/office/drawing/2014/main" id="{455AAA66-C6D1-4CF2-B99B-FEEE790EDDC1}"/>
              </a:ext>
            </a:extLst>
          </p:cNvPr>
          <p:cNvSpPr>
            <a:spLocks noGrp="1"/>
          </p:cNvSpPr>
          <p:nvPr>
            <p:custDataLst>
              <p:tags r:id="rId54"/>
            </p:custDataLst>
          </p:nvPr>
        </p:nvSpPr>
        <p:spPr bwMode="auto">
          <a:xfrm>
            <a:off x="4718630" y="5928437"/>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M</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72" name="Espace réservé du texte 2">
            <a:extLst>
              <a:ext uri="{FF2B5EF4-FFF2-40B4-BE49-F238E27FC236}">
                <a16:creationId xmlns:a16="http://schemas.microsoft.com/office/drawing/2014/main" id="{08D746D2-AC6F-4A93-B085-4E40AC7E5247}"/>
              </a:ext>
            </a:extLst>
          </p:cNvPr>
          <p:cNvSpPr>
            <a:spLocks noGrp="1"/>
          </p:cNvSpPr>
          <p:nvPr>
            <p:custDataLst>
              <p:tags r:id="rId55"/>
            </p:custDataLst>
          </p:nvPr>
        </p:nvSpPr>
        <p:spPr bwMode="auto">
          <a:xfrm>
            <a:off x="4967104" y="5928437"/>
            <a:ext cx="1111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J</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87" name="Espace réservé du texte 2">
            <a:extLst>
              <a:ext uri="{FF2B5EF4-FFF2-40B4-BE49-F238E27FC236}">
                <a16:creationId xmlns:a16="http://schemas.microsoft.com/office/drawing/2014/main" id="{30DD28B7-1DA9-4C69-A8C2-225962BDB5A2}"/>
              </a:ext>
            </a:extLst>
          </p:cNvPr>
          <p:cNvSpPr>
            <a:spLocks noGrp="1"/>
          </p:cNvSpPr>
          <p:nvPr>
            <p:custDataLst>
              <p:tags r:id="rId56"/>
            </p:custDataLst>
          </p:nvPr>
        </p:nvSpPr>
        <p:spPr bwMode="auto">
          <a:xfrm>
            <a:off x="5261615" y="5928437"/>
            <a:ext cx="793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J</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90" name="Espace réservé du texte 2">
            <a:extLst>
              <a:ext uri="{FF2B5EF4-FFF2-40B4-BE49-F238E27FC236}">
                <a16:creationId xmlns:a16="http://schemas.microsoft.com/office/drawing/2014/main" id="{4A5E6850-A879-4AD9-9822-C2B6D157979B}"/>
              </a:ext>
            </a:extLst>
          </p:cNvPr>
          <p:cNvSpPr>
            <a:spLocks noGrp="1"/>
          </p:cNvSpPr>
          <p:nvPr>
            <p:custDataLst>
              <p:tags r:id="rId57"/>
            </p:custDataLst>
          </p:nvPr>
        </p:nvSpPr>
        <p:spPr bwMode="auto">
          <a:xfrm>
            <a:off x="5524376" y="5928437"/>
            <a:ext cx="1111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A</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96" name="Espace réservé du texte 2">
            <a:extLst>
              <a:ext uri="{FF2B5EF4-FFF2-40B4-BE49-F238E27FC236}">
                <a16:creationId xmlns:a16="http://schemas.microsoft.com/office/drawing/2014/main" id="{EBEED182-3A59-4617-8D3C-B1509DECBAD1}"/>
              </a:ext>
            </a:extLst>
          </p:cNvPr>
          <p:cNvSpPr>
            <a:spLocks noGrp="1"/>
          </p:cNvSpPr>
          <p:nvPr>
            <p:custDataLst>
              <p:tags r:id="rId58"/>
            </p:custDataLst>
          </p:nvPr>
        </p:nvSpPr>
        <p:spPr bwMode="auto">
          <a:xfrm>
            <a:off x="6051486" y="5928437"/>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O</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97" name="Espace réservé du texte 2">
            <a:extLst>
              <a:ext uri="{FF2B5EF4-FFF2-40B4-BE49-F238E27FC236}">
                <a16:creationId xmlns:a16="http://schemas.microsoft.com/office/drawing/2014/main" id="{E0143D3E-B789-4BE6-A852-AFBD82C79A31}"/>
              </a:ext>
            </a:extLst>
          </p:cNvPr>
          <p:cNvSpPr>
            <a:spLocks noGrp="1"/>
          </p:cNvSpPr>
          <p:nvPr>
            <p:custDataLst>
              <p:tags r:id="rId59"/>
            </p:custDataLst>
          </p:nvPr>
        </p:nvSpPr>
        <p:spPr bwMode="auto">
          <a:xfrm>
            <a:off x="6284085" y="5928437"/>
            <a:ext cx="793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N</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07" name="Espace réservé du texte 2">
            <a:extLst>
              <a:ext uri="{FF2B5EF4-FFF2-40B4-BE49-F238E27FC236}">
                <a16:creationId xmlns:a16="http://schemas.microsoft.com/office/drawing/2014/main" id="{31ED7A11-F31C-4542-AA24-39AC5A998835}"/>
              </a:ext>
            </a:extLst>
          </p:cNvPr>
          <p:cNvSpPr>
            <a:spLocks noGrp="1"/>
          </p:cNvSpPr>
          <p:nvPr>
            <p:custDataLst>
              <p:tags r:id="rId60"/>
            </p:custDataLst>
          </p:nvPr>
        </p:nvSpPr>
        <p:spPr bwMode="auto">
          <a:xfrm>
            <a:off x="6546851" y="5928437"/>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latin typeface="Calibri" panose="020F0502020204030204" pitchFamily="34" charset="0"/>
                <a:cs typeface="Calibri" panose="020F0502020204030204" pitchFamily="34" charset="0"/>
              </a:rPr>
              <a:t>D</a:t>
            </a:r>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308" name="Graphique 307">
            <a:extLst>
              <a:ext uri="{FF2B5EF4-FFF2-40B4-BE49-F238E27FC236}">
                <a16:creationId xmlns:a16="http://schemas.microsoft.com/office/drawing/2014/main" id="{4A9F05B8-4C61-41AD-B6FE-012BC0EA6717}"/>
              </a:ext>
            </a:extLst>
          </p:cNvPr>
          <p:cNvGraphicFramePr>
            <a:graphicFrameLocks/>
          </p:cNvGraphicFramePr>
          <p:nvPr>
            <p:custDataLst>
              <p:tags r:id="rId61"/>
            </p:custDataLst>
            <p:extLst>
              <p:ext uri="{D42A27DB-BD31-4B8C-83A1-F6EECF244321}">
                <p14:modId xmlns:p14="http://schemas.microsoft.com/office/powerpoint/2010/main" val="2254075277"/>
              </p:ext>
            </p:extLst>
          </p:nvPr>
        </p:nvGraphicFramePr>
        <p:xfrm>
          <a:off x="6904502" y="1672931"/>
          <a:ext cx="2491200" cy="1758962"/>
        </p:xfrm>
        <a:graphic>
          <a:graphicData uri="http://schemas.openxmlformats.org/drawingml/2006/chart">
            <c:chart xmlns:c="http://schemas.openxmlformats.org/drawingml/2006/chart" xmlns:r="http://schemas.openxmlformats.org/officeDocument/2006/relationships" r:id="rId89"/>
          </a:graphicData>
        </a:graphic>
      </p:graphicFrame>
      <p:cxnSp>
        <p:nvCxnSpPr>
          <p:cNvPr id="7" name="Connecteur droit 6">
            <a:extLst>
              <a:ext uri="{FF2B5EF4-FFF2-40B4-BE49-F238E27FC236}">
                <a16:creationId xmlns:a16="http://schemas.microsoft.com/office/drawing/2014/main" id="{62A22F70-FB03-456A-83CB-014703592A3E}"/>
              </a:ext>
            </a:extLst>
          </p:cNvPr>
          <p:cNvCxnSpPr/>
          <p:nvPr/>
        </p:nvCxnSpPr>
        <p:spPr>
          <a:xfrm flipH="1">
            <a:off x="8132018" y="1568027"/>
            <a:ext cx="0" cy="179804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309" name="Graphique 308">
            <a:extLst>
              <a:ext uri="{FF2B5EF4-FFF2-40B4-BE49-F238E27FC236}">
                <a16:creationId xmlns:a16="http://schemas.microsoft.com/office/drawing/2014/main" id="{2EFAD91C-BAC7-4F15-859B-7DC7BBC5D264}"/>
              </a:ext>
            </a:extLst>
          </p:cNvPr>
          <p:cNvGraphicFramePr>
            <a:graphicFrameLocks/>
          </p:cNvGraphicFramePr>
          <p:nvPr>
            <p:custDataLst>
              <p:tags r:id="rId62"/>
            </p:custDataLst>
            <p:extLst>
              <p:ext uri="{D42A27DB-BD31-4B8C-83A1-F6EECF244321}">
                <p14:modId xmlns:p14="http://schemas.microsoft.com/office/powerpoint/2010/main" val="4277732546"/>
              </p:ext>
            </p:extLst>
          </p:nvPr>
        </p:nvGraphicFramePr>
        <p:xfrm>
          <a:off x="9427817" y="1692012"/>
          <a:ext cx="2491200" cy="1720800"/>
        </p:xfrm>
        <a:graphic>
          <a:graphicData uri="http://schemas.openxmlformats.org/drawingml/2006/chart">
            <c:chart xmlns:c="http://schemas.openxmlformats.org/drawingml/2006/chart" xmlns:r="http://schemas.openxmlformats.org/officeDocument/2006/relationships" r:id="rId90"/>
          </a:graphicData>
        </a:graphic>
      </p:graphicFrame>
      <p:cxnSp>
        <p:nvCxnSpPr>
          <p:cNvPr id="279" name="Connecteur droit 278">
            <a:extLst>
              <a:ext uri="{FF2B5EF4-FFF2-40B4-BE49-F238E27FC236}">
                <a16:creationId xmlns:a16="http://schemas.microsoft.com/office/drawing/2014/main" id="{96EB7270-1670-4F9D-A817-68DA75900D78}"/>
              </a:ext>
            </a:extLst>
          </p:cNvPr>
          <p:cNvCxnSpPr/>
          <p:nvPr/>
        </p:nvCxnSpPr>
        <p:spPr>
          <a:xfrm flipH="1">
            <a:off x="10606920" y="1533481"/>
            <a:ext cx="0" cy="179804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10" name="Connecteur droit 309">
            <a:extLst>
              <a:ext uri="{FF2B5EF4-FFF2-40B4-BE49-F238E27FC236}">
                <a16:creationId xmlns:a16="http://schemas.microsoft.com/office/drawing/2014/main" id="{6332D18C-F15B-40FF-A717-CBAB70E358FC}"/>
              </a:ext>
            </a:extLst>
          </p:cNvPr>
          <p:cNvCxnSpPr>
            <a:cxnSpLocks/>
          </p:cNvCxnSpPr>
          <p:nvPr/>
        </p:nvCxnSpPr>
        <p:spPr>
          <a:xfrm>
            <a:off x="9474200" y="4297363"/>
            <a:ext cx="0" cy="1800225"/>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11" name="Connecteur droit 310">
            <a:extLst>
              <a:ext uri="{FF2B5EF4-FFF2-40B4-BE49-F238E27FC236}">
                <a16:creationId xmlns:a16="http://schemas.microsoft.com/office/drawing/2014/main" id="{F4FE59BA-8DB5-4E28-9CFD-309B61B74436}"/>
              </a:ext>
            </a:extLst>
          </p:cNvPr>
          <p:cNvCxnSpPr/>
          <p:nvPr>
            <p:custDataLst>
              <p:tags r:id="rId63"/>
            </p:custDataLst>
          </p:nvPr>
        </p:nvCxnSpPr>
        <p:spPr bwMode="auto">
          <a:xfrm>
            <a:off x="10666413" y="4689475"/>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2" name="Connecteur droit 311">
            <a:extLst>
              <a:ext uri="{FF2B5EF4-FFF2-40B4-BE49-F238E27FC236}">
                <a16:creationId xmlns:a16="http://schemas.microsoft.com/office/drawing/2014/main" id="{037417C2-AC5B-4792-9405-BDF73A07FD32}"/>
              </a:ext>
            </a:extLst>
          </p:cNvPr>
          <p:cNvCxnSpPr/>
          <p:nvPr>
            <p:custDataLst>
              <p:tags r:id="rId64"/>
            </p:custDataLst>
          </p:nvPr>
        </p:nvCxnSpPr>
        <p:spPr bwMode="auto">
          <a:xfrm>
            <a:off x="9928225" y="4754563"/>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3" name="Connecteur droit 312">
            <a:extLst>
              <a:ext uri="{FF2B5EF4-FFF2-40B4-BE49-F238E27FC236}">
                <a16:creationId xmlns:a16="http://schemas.microsoft.com/office/drawing/2014/main" id="{26AC2337-4B9A-430F-AB50-DF1BCA5AA3A1}"/>
              </a:ext>
            </a:extLst>
          </p:cNvPr>
          <p:cNvCxnSpPr/>
          <p:nvPr>
            <p:custDataLst>
              <p:tags r:id="rId65"/>
            </p:custDataLst>
          </p:nvPr>
        </p:nvCxnSpPr>
        <p:spPr bwMode="auto">
          <a:xfrm>
            <a:off x="10296525" y="4714875"/>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4" name="Connecteur droit 313">
            <a:extLst>
              <a:ext uri="{FF2B5EF4-FFF2-40B4-BE49-F238E27FC236}">
                <a16:creationId xmlns:a16="http://schemas.microsoft.com/office/drawing/2014/main" id="{92C4C820-5E60-42D9-9057-635549F11DC0}"/>
              </a:ext>
            </a:extLst>
          </p:cNvPr>
          <p:cNvCxnSpPr/>
          <p:nvPr>
            <p:custDataLst>
              <p:tags r:id="rId66"/>
            </p:custDataLst>
          </p:nvPr>
        </p:nvCxnSpPr>
        <p:spPr bwMode="auto">
          <a:xfrm>
            <a:off x="11034713" y="4632325"/>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5" name="Connecteur droit 314">
            <a:extLst>
              <a:ext uri="{FF2B5EF4-FFF2-40B4-BE49-F238E27FC236}">
                <a16:creationId xmlns:a16="http://schemas.microsoft.com/office/drawing/2014/main" id="{0FDF24B6-8889-4237-ACDA-D9B1C2B2B830}"/>
              </a:ext>
            </a:extLst>
          </p:cNvPr>
          <p:cNvCxnSpPr/>
          <p:nvPr>
            <p:custDataLst>
              <p:tags r:id="rId67"/>
            </p:custDataLst>
          </p:nvPr>
        </p:nvCxnSpPr>
        <p:spPr bwMode="auto">
          <a:xfrm>
            <a:off x="11404600" y="4386263"/>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17" name="Chart 3">
            <a:extLst>
              <a:ext uri="{FF2B5EF4-FFF2-40B4-BE49-F238E27FC236}">
                <a16:creationId xmlns:a16="http://schemas.microsoft.com/office/drawing/2014/main" id="{C53FC16D-9406-421E-BF7F-770DC6579DD7}"/>
              </a:ext>
            </a:extLst>
          </p:cNvPr>
          <p:cNvGraphicFramePr/>
          <p:nvPr>
            <p:custDataLst>
              <p:tags r:id="rId68"/>
            </p:custDataLst>
            <p:extLst>
              <p:ext uri="{D42A27DB-BD31-4B8C-83A1-F6EECF244321}">
                <p14:modId xmlns:p14="http://schemas.microsoft.com/office/powerpoint/2010/main" val="2025530473"/>
              </p:ext>
            </p:extLst>
          </p:nvPr>
        </p:nvGraphicFramePr>
        <p:xfrm>
          <a:off x="9558338" y="4202113"/>
          <a:ext cx="2379662" cy="1762125"/>
        </p:xfrm>
        <a:graphic>
          <a:graphicData uri="http://schemas.openxmlformats.org/drawingml/2006/chart">
            <c:chart xmlns:c="http://schemas.openxmlformats.org/drawingml/2006/chart" xmlns:r="http://schemas.openxmlformats.org/officeDocument/2006/relationships" r:id="rId91"/>
          </a:graphicData>
        </a:graphic>
      </p:graphicFrame>
      <p:sp>
        <p:nvSpPr>
          <p:cNvPr id="319" name="Espace réservé du texte 2">
            <a:extLst>
              <a:ext uri="{FF2B5EF4-FFF2-40B4-BE49-F238E27FC236}">
                <a16:creationId xmlns:a16="http://schemas.microsoft.com/office/drawing/2014/main" id="{8658FE3E-C1EC-4396-8735-DB433825C0B3}"/>
              </a:ext>
            </a:extLst>
          </p:cNvPr>
          <p:cNvSpPr>
            <a:spLocks noGrp="1"/>
          </p:cNvSpPr>
          <p:nvPr>
            <p:custDataLst>
              <p:tags r:id="rId69"/>
            </p:custDataLst>
          </p:nvPr>
        </p:nvSpPr>
        <p:spPr bwMode="auto">
          <a:xfrm>
            <a:off x="9720263" y="5919788"/>
            <a:ext cx="2111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25549A1E-A160-490D-8D75-C9EEADA556D1}" type="datetime'''''''''''7''''''3''7'''''''''' ''''F''''''''''''''am'''''">
              <a:rPr lang="fr-FR" altLang="en-US" sz="900" smtClean="0">
                <a:latin typeface="Calibri" panose="020F0502020204030204" pitchFamily="34" charset="0"/>
                <a:cs typeface="Calibri" panose="020F0502020204030204" pitchFamily="34" charset="0"/>
                <a:sym typeface="Calibri" panose="020F0502020204030204" pitchFamily="34" charset="0"/>
              </a:rPr>
              <a:pPr/>
              <a:t>737 Fa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24" name="Espace réservé du texte 2">
            <a:extLst>
              <a:ext uri="{FF2B5EF4-FFF2-40B4-BE49-F238E27FC236}">
                <a16:creationId xmlns:a16="http://schemas.microsoft.com/office/drawing/2014/main" id="{1FD95403-3B9E-42A0-B743-6537D28D8E04}"/>
              </a:ext>
            </a:extLst>
          </p:cNvPr>
          <p:cNvSpPr>
            <a:spLocks noGrp="1"/>
          </p:cNvSpPr>
          <p:nvPr>
            <p:custDataLst>
              <p:tags r:id="rId70"/>
            </p:custDataLst>
          </p:nvPr>
        </p:nvSpPr>
        <p:spPr bwMode="auto">
          <a:xfrm>
            <a:off x="10101263" y="5919788"/>
            <a:ext cx="1841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5D29A122-4AAF-4594-95F5-AB5ECEB04E21}" type="datetime'''''''7''''''''4''''''''''7'''''''''''''''''''''''''">
              <a:rPr lang="fr-FR" altLang="en-US" sz="900" smtClean="0">
                <a:latin typeface="Calibri" panose="020F0502020204030204" pitchFamily="34" charset="0"/>
                <a:cs typeface="Calibri" panose="020F0502020204030204" pitchFamily="34" charset="0"/>
                <a:sym typeface="Calibri" panose="020F0502020204030204" pitchFamily="34" charset="0"/>
              </a:rPr>
              <a:pPr/>
              <a:t>74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26" name="Espace réservé du texte 2">
            <a:extLst>
              <a:ext uri="{FF2B5EF4-FFF2-40B4-BE49-F238E27FC236}">
                <a16:creationId xmlns:a16="http://schemas.microsoft.com/office/drawing/2014/main" id="{C44A6B80-86CF-4DFC-9F6D-46162B0DC515}"/>
              </a:ext>
            </a:extLst>
          </p:cNvPr>
          <p:cNvSpPr>
            <a:spLocks noGrp="1"/>
          </p:cNvSpPr>
          <p:nvPr>
            <p:custDataLst>
              <p:tags r:id="rId71"/>
            </p:custDataLst>
          </p:nvPr>
        </p:nvSpPr>
        <p:spPr bwMode="gray">
          <a:xfrm>
            <a:off x="10858500" y="4592638"/>
            <a:ext cx="146050" cy="136525"/>
          </a:xfrm>
          <a:prstGeom prst="rect">
            <a:avLst/>
          </a:prstGeom>
          <a:solidFill>
            <a:schemeClr val="accent2"/>
          </a:solidFill>
          <a:ln>
            <a:noFill/>
          </a:ln>
        </p:spPr>
        <p:txBody>
          <a:bodyPr vert="horz" wrap="none" lIns="15875" tIns="0" rIns="15875"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solidFill>
                  <a:schemeClr val="bg1"/>
                </a:solidFill>
                <a:effectLst/>
                <a:latin typeface="Calibri" panose="020F0502020204030204" pitchFamily="34" charset="0"/>
                <a:cs typeface="Calibri" panose="020F0502020204030204" pitchFamily="34" charset="0"/>
              </a:rPr>
              <a:t>12</a:t>
            </a:r>
            <a:endParaRPr lang="fr-FR" sz="900" noProof="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27" name="Espace réservé du texte 2">
            <a:extLst>
              <a:ext uri="{FF2B5EF4-FFF2-40B4-BE49-F238E27FC236}">
                <a16:creationId xmlns:a16="http://schemas.microsoft.com/office/drawing/2014/main" id="{B93455F7-D354-4E28-84FA-AA42734B8E7E}"/>
              </a:ext>
            </a:extLst>
          </p:cNvPr>
          <p:cNvSpPr>
            <a:spLocks noGrp="1"/>
          </p:cNvSpPr>
          <p:nvPr>
            <p:custDataLst>
              <p:tags r:id="rId72"/>
            </p:custDataLst>
          </p:nvPr>
        </p:nvSpPr>
        <p:spPr bwMode="gray">
          <a:xfrm>
            <a:off x="10490200" y="4633913"/>
            <a:ext cx="146050" cy="136525"/>
          </a:xfrm>
          <a:prstGeom prst="rect">
            <a:avLst/>
          </a:prstGeom>
          <a:solidFill>
            <a:schemeClr val="accent2"/>
          </a:solidFill>
          <a:ln>
            <a:noFill/>
          </a:ln>
        </p:spPr>
        <p:txBody>
          <a:bodyPr vert="horz" wrap="none" lIns="15875" tIns="0" rIns="15875"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fr-FR" altLang="en-US" sz="900" dirty="0">
                <a:solidFill>
                  <a:schemeClr val="bg1"/>
                </a:solidFill>
                <a:effectLst/>
                <a:latin typeface="Calibri" panose="020F0502020204030204" pitchFamily="34" charset="0"/>
                <a:cs typeface="Calibri" panose="020F0502020204030204" pitchFamily="34" charset="0"/>
              </a:rPr>
              <a:t>4</a:t>
            </a:r>
            <a:endParaRPr lang="fr-FR" sz="900" noProof="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28" name="Espace réservé du texte 2">
            <a:extLst>
              <a:ext uri="{FF2B5EF4-FFF2-40B4-BE49-F238E27FC236}">
                <a16:creationId xmlns:a16="http://schemas.microsoft.com/office/drawing/2014/main" id="{1EF1BCA5-4C2A-45CC-A87E-5C4676D77435}"/>
              </a:ext>
            </a:extLst>
          </p:cNvPr>
          <p:cNvSpPr>
            <a:spLocks noGrp="1"/>
          </p:cNvSpPr>
          <p:nvPr>
            <p:custDataLst>
              <p:tags r:id="rId73"/>
            </p:custDataLst>
          </p:nvPr>
        </p:nvSpPr>
        <p:spPr bwMode="auto">
          <a:xfrm>
            <a:off x="11209338" y="5919788"/>
            <a:ext cx="1841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FC81375A-640B-41AA-B0DF-85DBB68350D6}" type="datetime'''''''''''''''''''''''''7''8''7'''''''''''''''">
              <a:rPr lang="fr-FR" altLang="en-US" sz="900" smtClean="0">
                <a:latin typeface="Calibri" panose="020F0502020204030204" pitchFamily="34" charset="0"/>
                <a:cs typeface="Calibri" panose="020F0502020204030204" pitchFamily="34" charset="0"/>
                <a:sym typeface="Calibri" panose="020F0502020204030204" pitchFamily="34" charset="0"/>
              </a:rPr>
              <a:pPr/>
              <a:t>78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29" name="Espace réservé du texte 2">
            <a:extLst>
              <a:ext uri="{FF2B5EF4-FFF2-40B4-BE49-F238E27FC236}">
                <a16:creationId xmlns:a16="http://schemas.microsoft.com/office/drawing/2014/main" id="{5DF278F1-3E80-4DEF-B243-A0E9C3246F10}"/>
              </a:ext>
            </a:extLst>
          </p:cNvPr>
          <p:cNvSpPr>
            <a:spLocks noGrp="1"/>
          </p:cNvSpPr>
          <p:nvPr>
            <p:custDataLst>
              <p:tags r:id="rId74"/>
            </p:custDataLst>
          </p:nvPr>
        </p:nvSpPr>
        <p:spPr bwMode="auto">
          <a:xfrm>
            <a:off x="10471150" y="5919788"/>
            <a:ext cx="1841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D14260C3-ABD4-4CF2-8F9C-59671F68DF34}" type="datetime'76''''''''''''''''''''''''''''''''''''''''7'''''''''''''''''''">
              <a:rPr lang="fr-FR" altLang="en-US" sz="900" smtClean="0">
                <a:latin typeface="Calibri" panose="020F0502020204030204" pitchFamily="34" charset="0"/>
                <a:cs typeface="Calibri" panose="020F0502020204030204" pitchFamily="34" charset="0"/>
                <a:sym typeface="Calibri" panose="020F0502020204030204" pitchFamily="34" charset="0"/>
              </a:rPr>
              <a:pPr/>
              <a:t>76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32" name="Espace réservé du texte 2">
            <a:extLst>
              <a:ext uri="{FF2B5EF4-FFF2-40B4-BE49-F238E27FC236}">
                <a16:creationId xmlns:a16="http://schemas.microsoft.com/office/drawing/2014/main" id="{E6FEEA98-9842-4FA9-B3FA-AAD8BC1CDF71}"/>
              </a:ext>
            </a:extLst>
          </p:cNvPr>
          <p:cNvSpPr>
            <a:spLocks noGrp="1"/>
          </p:cNvSpPr>
          <p:nvPr>
            <p:custDataLst>
              <p:tags r:id="rId75"/>
            </p:custDataLst>
          </p:nvPr>
        </p:nvSpPr>
        <p:spPr bwMode="auto">
          <a:xfrm>
            <a:off x="10839450" y="5919788"/>
            <a:ext cx="1841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9F510D96-36B3-47CD-BA56-CE5E389C282C}" type="datetime'''7''''7''''''''''''''''''7'''''">
              <a:rPr lang="fr-FR" altLang="en-US" sz="900" smtClean="0">
                <a:latin typeface="Calibri" panose="020F0502020204030204" pitchFamily="34" charset="0"/>
                <a:cs typeface="Calibri" panose="020F0502020204030204" pitchFamily="34" charset="0"/>
                <a:sym typeface="Calibri" panose="020F0502020204030204" pitchFamily="34" charset="0"/>
              </a:rPr>
              <a:pPr/>
              <a:t>77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33" name="Espace réservé du texte 2">
            <a:extLst>
              <a:ext uri="{FF2B5EF4-FFF2-40B4-BE49-F238E27FC236}">
                <a16:creationId xmlns:a16="http://schemas.microsoft.com/office/drawing/2014/main" id="{4F5EC4C8-D7C4-4E84-A37B-FF4F821188C5}"/>
              </a:ext>
            </a:extLst>
          </p:cNvPr>
          <p:cNvSpPr>
            <a:spLocks noGrp="1"/>
          </p:cNvSpPr>
          <p:nvPr>
            <p:custDataLst>
              <p:tags r:id="rId76"/>
            </p:custDataLst>
          </p:nvPr>
        </p:nvSpPr>
        <p:spPr bwMode="auto">
          <a:xfrm>
            <a:off x="11541125" y="5919788"/>
            <a:ext cx="2571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F451FC48-7EE8-4068-9B86-D7AB7D743A04}" type="datetime'Tot''''''''a''''''''''l'''''''">
              <a:rPr lang="fr-FR" altLang="en-US" sz="900" b="1" smtClean="0">
                <a:latin typeface="Calibri" panose="020F0502020204030204" pitchFamily="34" charset="0"/>
                <a:cs typeface="Calibri" panose="020F0502020204030204" pitchFamily="34" charset="0"/>
                <a:sym typeface="Calibri" panose="020F0502020204030204" pitchFamily="34" charset="0"/>
              </a:rPr>
              <a:pPr/>
              <a:t>Total</a:t>
            </a:fld>
            <a:endParaRPr lang="fr-FR" sz="9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34" name="ZoneTexte 333">
            <a:extLst>
              <a:ext uri="{FF2B5EF4-FFF2-40B4-BE49-F238E27FC236}">
                <a16:creationId xmlns:a16="http://schemas.microsoft.com/office/drawing/2014/main" id="{E5424F79-9675-4EF0-97DC-1567A82B4D74}"/>
              </a:ext>
            </a:extLst>
          </p:cNvPr>
          <p:cNvSpPr txBox="1"/>
          <p:nvPr/>
        </p:nvSpPr>
        <p:spPr>
          <a:xfrm>
            <a:off x="9589032" y="4516443"/>
            <a:ext cx="437892" cy="231775"/>
          </a:xfrm>
          <a:prstGeom prst="rect">
            <a:avLst/>
          </a:prstGeom>
          <a:noFill/>
        </p:spPr>
        <p:txBody>
          <a:bodyPr wrap="square" rtlCol="0">
            <a:spAutoFit/>
          </a:bodyPr>
          <a:lstStyle/>
          <a:p>
            <a:pPr algn="ctr"/>
            <a:r>
              <a:rPr lang="fr-FR" sz="900" b="1" dirty="0">
                <a:solidFill>
                  <a:srgbClr val="00B050"/>
                </a:solidFill>
                <a:latin typeface="Calibri" panose="020F0502020204030204" pitchFamily="34" charset="0"/>
                <a:cs typeface="Calibri" panose="020F0502020204030204" pitchFamily="34" charset="0"/>
              </a:rPr>
              <a:t>(-13)</a:t>
            </a:r>
          </a:p>
        </p:txBody>
      </p:sp>
      <p:sp>
        <p:nvSpPr>
          <p:cNvPr id="335" name="ZoneTexte 334">
            <a:extLst>
              <a:ext uri="{FF2B5EF4-FFF2-40B4-BE49-F238E27FC236}">
                <a16:creationId xmlns:a16="http://schemas.microsoft.com/office/drawing/2014/main" id="{82BC1459-2976-498F-AC45-35E45B2CC39D}"/>
              </a:ext>
            </a:extLst>
          </p:cNvPr>
          <p:cNvSpPr txBox="1"/>
          <p:nvPr/>
        </p:nvSpPr>
        <p:spPr>
          <a:xfrm>
            <a:off x="10001786" y="4438655"/>
            <a:ext cx="368300" cy="230188"/>
          </a:xfrm>
          <a:prstGeom prst="rect">
            <a:avLst/>
          </a:prstGeom>
          <a:noFill/>
        </p:spPr>
        <p:txBody>
          <a:bodyPr wrap="square" rtlCol="0">
            <a:spAutoFit/>
          </a:bodyPr>
          <a:lstStyle/>
          <a:p>
            <a:pPr algn="ctr"/>
            <a:r>
              <a:rPr lang="fr-FR" sz="900" b="1" dirty="0">
                <a:solidFill>
                  <a:schemeClr val="tx2"/>
                </a:solidFill>
                <a:latin typeface="Calibri" panose="020F0502020204030204" pitchFamily="34" charset="0"/>
                <a:cs typeface="Calibri" panose="020F0502020204030204" pitchFamily="34" charset="0"/>
              </a:rPr>
              <a:t>-</a:t>
            </a:r>
          </a:p>
        </p:txBody>
      </p:sp>
      <p:sp>
        <p:nvSpPr>
          <p:cNvPr id="336" name="ZoneTexte 335">
            <a:extLst>
              <a:ext uri="{FF2B5EF4-FFF2-40B4-BE49-F238E27FC236}">
                <a16:creationId xmlns:a16="http://schemas.microsoft.com/office/drawing/2014/main" id="{7883AA19-6609-4017-A321-CCC265AC3348}"/>
              </a:ext>
            </a:extLst>
          </p:cNvPr>
          <p:cNvSpPr txBox="1"/>
          <p:nvPr/>
        </p:nvSpPr>
        <p:spPr>
          <a:xfrm>
            <a:off x="10373521" y="4382560"/>
            <a:ext cx="368300" cy="231775"/>
          </a:xfrm>
          <a:prstGeom prst="rect">
            <a:avLst/>
          </a:prstGeom>
          <a:noFill/>
        </p:spPr>
        <p:txBody>
          <a:bodyPr wrap="square" rtlCol="0">
            <a:spAutoFit/>
          </a:bodyPr>
          <a:lstStyle/>
          <a:p>
            <a:pPr algn="ctr"/>
            <a:r>
              <a:rPr lang="fr-FR" sz="900" b="1" dirty="0">
                <a:solidFill>
                  <a:srgbClr val="FF0000"/>
                </a:solidFill>
                <a:latin typeface="Calibri" panose="020F0502020204030204" pitchFamily="34" charset="0"/>
                <a:cs typeface="Calibri" panose="020F0502020204030204" pitchFamily="34" charset="0"/>
              </a:rPr>
              <a:t>(+1)</a:t>
            </a:r>
          </a:p>
        </p:txBody>
      </p:sp>
      <p:sp>
        <p:nvSpPr>
          <p:cNvPr id="338" name="ZoneTexte 337">
            <a:extLst>
              <a:ext uri="{FF2B5EF4-FFF2-40B4-BE49-F238E27FC236}">
                <a16:creationId xmlns:a16="http://schemas.microsoft.com/office/drawing/2014/main" id="{8E60EAE3-4543-4547-89F1-FF4F90630EB4}"/>
              </a:ext>
            </a:extLst>
          </p:cNvPr>
          <p:cNvSpPr txBox="1"/>
          <p:nvPr/>
        </p:nvSpPr>
        <p:spPr>
          <a:xfrm>
            <a:off x="10698162" y="4337583"/>
            <a:ext cx="437892" cy="230832"/>
          </a:xfrm>
          <a:prstGeom prst="rect">
            <a:avLst/>
          </a:prstGeom>
          <a:noFill/>
        </p:spPr>
        <p:txBody>
          <a:bodyPr wrap="square" rtlCol="0">
            <a:spAutoFit/>
          </a:bodyPr>
          <a:lstStyle/>
          <a:p>
            <a:pPr algn="ctr"/>
            <a:r>
              <a:rPr lang="fr-FR" sz="900" b="1" dirty="0">
                <a:solidFill>
                  <a:schemeClr val="tx2"/>
                </a:solidFill>
                <a:latin typeface="Calibri" panose="020F0502020204030204" pitchFamily="34" charset="0"/>
                <a:cs typeface="Calibri" panose="020F0502020204030204" pitchFamily="34" charset="0"/>
              </a:rPr>
              <a:t>-</a:t>
            </a:r>
          </a:p>
        </p:txBody>
      </p:sp>
      <p:sp>
        <p:nvSpPr>
          <p:cNvPr id="339" name="ZoneTexte 338">
            <a:extLst>
              <a:ext uri="{FF2B5EF4-FFF2-40B4-BE49-F238E27FC236}">
                <a16:creationId xmlns:a16="http://schemas.microsoft.com/office/drawing/2014/main" id="{7894A1F4-8EF9-4119-B739-A5FBF7C190C0}"/>
              </a:ext>
            </a:extLst>
          </p:cNvPr>
          <p:cNvSpPr txBox="1"/>
          <p:nvPr/>
        </p:nvSpPr>
        <p:spPr>
          <a:xfrm>
            <a:off x="11063290" y="4153301"/>
            <a:ext cx="471488" cy="230832"/>
          </a:xfrm>
          <a:prstGeom prst="rect">
            <a:avLst/>
          </a:prstGeom>
          <a:noFill/>
        </p:spPr>
        <p:txBody>
          <a:bodyPr wrap="square" rtlCol="0">
            <a:spAutoFit/>
          </a:bodyPr>
          <a:lstStyle/>
          <a:p>
            <a:pPr algn="ctr"/>
            <a:r>
              <a:rPr lang="fr-FR" sz="900" b="1" dirty="0">
                <a:solidFill>
                  <a:srgbClr val="FF0000"/>
                </a:solidFill>
                <a:latin typeface="Calibri" panose="020F0502020204030204" pitchFamily="34" charset="0"/>
                <a:cs typeface="Calibri" panose="020F0502020204030204" pitchFamily="34" charset="0"/>
              </a:rPr>
              <a:t>(+2)</a:t>
            </a:r>
          </a:p>
        </p:txBody>
      </p:sp>
      <p:sp>
        <p:nvSpPr>
          <p:cNvPr id="340" name="ZoneTexte 339">
            <a:extLst>
              <a:ext uri="{FF2B5EF4-FFF2-40B4-BE49-F238E27FC236}">
                <a16:creationId xmlns:a16="http://schemas.microsoft.com/office/drawing/2014/main" id="{0F1E1898-FE8D-4682-9B29-D218B946F55E}"/>
              </a:ext>
            </a:extLst>
          </p:cNvPr>
          <p:cNvSpPr txBox="1"/>
          <p:nvPr/>
        </p:nvSpPr>
        <p:spPr>
          <a:xfrm>
            <a:off x="11381127" y="4017333"/>
            <a:ext cx="563585" cy="261610"/>
          </a:xfrm>
          <a:prstGeom prst="rect">
            <a:avLst/>
          </a:prstGeom>
          <a:noFill/>
        </p:spPr>
        <p:txBody>
          <a:bodyPr wrap="square" rtlCol="0">
            <a:spAutoFit/>
          </a:bodyPr>
          <a:lstStyle/>
          <a:p>
            <a:pPr algn="ctr"/>
            <a:r>
              <a:rPr lang="fr-FR" sz="1050" b="1" dirty="0">
                <a:solidFill>
                  <a:srgbClr val="00B050"/>
                </a:solidFill>
                <a:latin typeface="Calibri" panose="020F0502020204030204" pitchFamily="34" charset="0"/>
                <a:cs typeface="Calibri" panose="020F0502020204030204" pitchFamily="34" charset="0"/>
              </a:rPr>
              <a:t>(-10)</a:t>
            </a:r>
          </a:p>
        </p:txBody>
      </p:sp>
    </p:spTree>
    <p:custDataLst>
      <p:tags r:id="rId1"/>
    </p:custDataLst>
    <p:extLst>
      <p:ext uri="{BB962C8B-B14F-4D97-AF65-F5344CB8AC3E}">
        <p14:creationId xmlns:p14="http://schemas.microsoft.com/office/powerpoint/2010/main" val="27157605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Objet 99" hidden="1">
            <a:extLst>
              <a:ext uri="{FF2B5EF4-FFF2-40B4-BE49-F238E27FC236}">
                <a16:creationId xmlns:a16="http://schemas.microsoft.com/office/drawing/2014/main" id="{8589F35F-0A8D-4311-B1FF-908064655556}"/>
              </a:ext>
            </a:extLst>
          </p:cNvPr>
          <p:cNvGraphicFramePr>
            <a:graphicFrameLocks noChangeAspect="1"/>
          </p:cNvGraphicFramePr>
          <p:nvPr>
            <p:custDataLst>
              <p:tags r:id="rId1"/>
            </p:custDataLst>
            <p:extLst>
              <p:ext uri="{D42A27DB-BD31-4B8C-83A1-F6EECF244321}">
                <p14:modId xmlns:p14="http://schemas.microsoft.com/office/powerpoint/2010/main" val="396584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25" imgW="344" imgH="344" progId="TCLayout.ActiveDocument.1">
                  <p:embed/>
                </p:oleObj>
              </mc:Choice>
              <mc:Fallback>
                <p:oleObj name="Diapositive think-cell" r:id="rId25" imgW="344" imgH="344" progId="TCLayout.ActiveDocument.1">
                  <p:embed/>
                  <p:pic>
                    <p:nvPicPr>
                      <p:cNvPr id="100" name="Objet 99" hidden="1">
                        <a:extLst>
                          <a:ext uri="{FF2B5EF4-FFF2-40B4-BE49-F238E27FC236}">
                            <a16:creationId xmlns:a16="http://schemas.microsoft.com/office/drawing/2014/main" id="{8589F35F-0A8D-4311-B1FF-90806465555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95" name="Rectangle 94" hidden="1">
            <a:extLst>
              <a:ext uri="{FF2B5EF4-FFF2-40B4-BE49-F238E27FC236}">
                <a16:creationId xmlns:a16="http://schemas.microsoft.com/office/drawing/2014/main" id="{95EFB8ED-8525-44D3-81E0-0D09718A15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1000" dirty="0">
              <a:latin typeface="Calibri" panose="020F0502020204030204" pitchFamily="34" charset="0"/>
              <a:cs typeface="Calibri" panose="020F0502020204030204" pitchFamily="34" charset="0"/>
              <a:sym typeface="Calibri" panose="020F0502020204030204" pitchFamily="34" charset="0"/>
            </a:endParaRPr>
          </a:p>
        </p:txBody>
      </p:sp>
      <p:pic>
        <p:nvPicPr>
          <p:cNvPr id="869" name="Image 868">
            <a:extLst>
              <a:ext uri="{FF2B5EF4-FFF2-40B4-BE49-F238E27FC236}">
                <a16:creationId xmlns:a16="http://schemas.microsoft.com/office/drawing/2014/main" id="{ACF24F4C-AA51-48A3-9BBB-F7448B2C06B3}"/>
              </a:ext>
            </a:extLst>
          </p:cNvPr>
          <p:cNvPicPr>
            <a:picLocks/>
          </p:cNvPicPr>
          <p:nvPr/>
        </p:nvPicPr>
        <p:blipFill rotWithShape="1">
          <a:blip r:embed="rId27"/>
          <a:srcRect l="2155"/>
          <a:stretch/>
        </p:blipFill>
        <p:spPr>
          <a:xfrm>
            <a:off x="84000" y="976768"/>
            <a:ext cx="12024000" cy="5492295"/>
          </a:xfrm>
          <a:prstGeom prst="rect">
            <a:avLst/>
          </a:prstGeom>
        </p:spPr>
      </p:pic>
      <p:sp>
        <p:nvSpPr>
          <p:cNvPr id="870" name="Rectangle 869">
            <a:extLst>
              <a:ext uri="{FF2B5EF4-FFF2-40B4-BE49-F238E27FC236}">
                <a16:creationId xmlns:a16="http://schemas.microsoft.com/office/drawing/2014/main" id="{C75659F7-9CB2-4887-8A0C-810962CD176B}"/>
              </a:ext>
            </a:extLst>
          </p:cNvPr>
          <p:cNvSpPr/>
          <p:nvPr/>
        </p:nvSpPr>
        <p:spPr>
          <a:xfrm>
            <a:off x="189707" y="1373295"/>
            <a:ext cx="5754576" cy="5019013"/>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 name="Titre 1">
            <a:extLst>
              <a:ext uri="{FF2B5EF4-FFF2-40B4-BE49-F238E27FC236}">
                <a16:creationId xmlns:a16="http://schemas.microsoft.com/office/drawing/2014/main" id="{F9B1A035-2CF0-4F9D-9E1F-5C99E51D4AFC}"/>
              </a:ext>
            </a:extLst>
          </p:cNvPr>
          <p:cNvSpPr>
            <a:spLocks noGrp="1"/>
          </p:cNvSpPr>
          <p:nvPr>
            <p:ph type="title"/>
          </p:nvPr>
        </p:nvSpPr>
        <p:spPr/>
        <p:txBody>
          <a:bodyPr vert="horz"/>
          <a:lstStyle/>
          <a:p>
            <a:r>
              <a:rPr lang="fr-FR" cap="small" dirty="0"/>
              <a:t>Prévisions des cadences de production</a:t>
            </a:r>
          </a:p>
        </p:txBody>
      </p:sp>
      <p:sp>
        <p:nvSpPr>
          <p:cNvPr id="6" name="Espace réservé du pied de page 5">
            <a:extLst>
              <a:ext uri="{FF2B5EF4-FFF2-40B4-BE49-F238E27FC236}">
                <a16:creationId xmlns:a16="http://schemas.microsoft.com/office/drawing/2014/main" id="{FB489620-C6BF-4186-8E3F-F876FA63F9D0}"/>
              </a:ext>
            </a:extLst>
          </p:cNvPr>
          <p:cNvSpPr>
            <a:spLocks noGrp="1"/>
          </p:cNvSpPr>
          <p:nvPr>
            <p:ph type="ftr" sz="quarter" idx="15"/>
          </p:nvPr>
        </p:nvSpPr>
        <p:spPr>
          <a:xfrm>
            <a:off x="1149451" y="6347411"/>
            <a:ext cx="4560000" cy="440684"/>
          </a:xfrm>
        </p:spPr>
        <p:txBody>
          <a:bodyPr/>
          <a:lstStyle/>
          <a:p>
            <a:pPr algn="l"/>
            <a:r>
              <a:rPr lang="fr-FR"/>
              <a:t>Dashboard Marché Aéronautique - Nov/Dec 2021</a:t>
            </a:r>
            <a:endParaRPr lang="fr-FR" dirty="0"/>
          </a:p>
        </p:txBody>
      </p:sp>
      <p:sp>
        <p:nvSpPr>
          <p:cNvPr id="7" name="Espace réservé du numéro de diapositive 6">
            <a:extLst>
              <a:ext uri="{FF2B5EF4-FFF2-40B4-BE49-F238E27FC236}">
                <a16:creationId xmlns:a16="http://schemas.microsoft.com/office/drawing/2014/main" id="{6745335D-FC8B-48AC-8398-E11E408D4F76}"/>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5</a:t>
            </a:fld>
            <a:endParaRPr lang="fr-FR" dirty="0"/>
          </a:p>
        </p:txBody>
      </p:sp>
      <p:sp>
        <p:nvSpPr>
          <p:cNvPr id="739" name="Rectangle 738">
            <a:extLst>
              <a:ext uri="{FF2B5EF4-FFF2-40B4-BE49-F238E27FC236}">
                <a16:creationId xmlns:a16="http://schemas.microsoft.com/office/drawing/2014/main" id="{33C78E60-2E06-449B-AF6E-274549A09B03}"/>
              </a:ext>
            </a:extLst>
          </p:cNvPr>
          <p:cNvSpPr/>
          <p:nvPr/>
        </p:nvSpPr>
        <p:spPr bwMode="auto">
          <a:xfrm>
            <a:off x="177869" y="1322206"/>
            <a:ext cx="5613332" cy="4413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fontAlgn="base">
              <a:spcBef>
                <a:spcPct val="0"/>
              </a:spcBef>
              <a:spcAft>
                <a:spcPct val="0"/>
              </a:spcAft>
              <a:buClr>
                <a:srgbClr val="FA6414"/>
              </a:buClr>
            </a:pPr>
            <a:r>
              <a:rPr lang="fr-CA" sz="1100" b="1" kern="1400" dirty="0">
                <a:solidFill>
                  <a:srgbClr val="1A003B"/>
                </a:solidFill>
                <a:latin typeface="Calibri" panose="020F0502020204030204" pitchFamily="34" charset="0"/>
                <a:ea typeface="Times New Roman" panose="02020603050405020304" pitchFamily="18" charset="0"/>
                <a:cs typeface="Calibri" panose="020F0502020204030204" pitchFamily="34" charset="0"/>
              </a:rPr>
              <a:t>Prévisions des cadences de production mensuelle, nb d’avions - 2019 – 2026 (PIC#42)</a:t>
            </a:r>
          </a:p>
        </p:txBody>
      </p:sp>
      <p:sp>
        <p:nvSpPr>
          <p:cNvPr id="145" name="Rectangle 144">
            <a:extLst>
              <a:ext uri="{FF2B5EF4-FFF2-40B4-BE49-F238E27FC236}">
                <a16:creationId xmlns:a16="http://schemas.microsoft.com/office/drawing/2014/main" id="{FCA74808-F434-4FB1-BE5E-2F031EAA0FDE}"/>
              </a:ext>
            </a:extLst>
          </p:cNvPr>
          <p:cNvSpPr/>
          <p:nvPr/>
        </p:nvSpPr>
        <p:spPr>
          <a:xfrm>
            <a:off x="84000" y="1067765"/>
            <a:ext cx="12024000" cy="2357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a:ln>
                  <a:noFill/>
                </a:ln>
                <a:solidFill>
                  <a:schemeClr val="bg1"/>
                </a:solidFill>
                <a:effectLst/>
                <a:uLnTx/>
                <a:uFillTx/>
                <a:latin typeface="Calibri"/>
                <a:ea typeface="+mn-ea"/>
                <a:cs typeface="+mn-cs"/>
              </a:rPr>
              <a:t>Prévisions des cadences de production mensuelle</a:t>
            </a:r>
          </a:p>
        </p:txBody>
      </p:sp>
      <p:pic>
        <p:nvPicPr>
          <p:cNvPr id="149" name="Image 31">
            <a:extLst>
              <a:ext uri="{FF2B5EF4-FFF2-40B4-BE49-F238E27FC236}">
                <a16:creationId xmlns:a16="http://schemas.microsoft.com/office/drawing/2014/main" id="{2BA8DE92-6738-4C04-AE1A-247FB8844C8B}"/>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sp>
        <p:nvSpPr>
          <p:cNvPr id="133" name="Ellipse 132">
            <a:extLst>
              <a:ext uri="{FF2B5EF4-FFF2-40B4-BE49-F238E27FC236}">
                <a16:creationId xmlns:a16="http://schemas.microsoft.com/office/drawing/2014/main" id="{4831262B-A26E-47A5-A286-710C146AE50D}"/>
              </a:ext>
            </a:extLst>
          </p:cNvPr>
          <p:cNvSpPr/>
          <p:nvPr/>
        </p:nvSpPr>
        <p:spPr>
          <a:xfrm>
            <a:off x="263375" y="460109"/>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3</a:t>
            </a:r>
          </a:p>
        </p:txBody>
      </p:sp>
      <p:sp>
        <p:nvSpPr>
          <p:cNvPr id="98" name="Rectangle 97">
            <a:extLst>
              <a:ext uri="{FF2B5EF4-FFF2-40B4-BE49-F238E27FC236}">
                <a16:creationId xmlns:a16="http://schemas.microsoft.com/office/drawing/2014/main" id="{F0937B19-5489-4B9E-A69B-119AB1EA458D}"/>
              </a:ext>
            </a:extLst>
          </p:cNvPr>
          <p:cNvSpPr/>
          <p:nvPr/>
        </p:nvSpPr>
        <p:spPr>
          <a:xfrm>
            <a:off x="6011720" y="4455226"/>
            <a:ext cx="5981943" cy="1911747"/>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99" name="Rectangle 98">
            <a:extLst>
              <a:ext uri="{FF2B5EF4-FFF2-40B4-BE49-F238E27FC236}">
                <a16:creationId xmlns:a16="http://schemas.microsoft.com/office/drawing/2014/main" id="{49164E85-8617-4DC4-BD6B-C8C57128CE6D}"/>
              </a:ext>
            </a:extLst>
          </p:cNvPr>
          <p:cNvSpPr/>
          <p:nvPr/>
        </p:nvSpPr>
        <p:spPr bwMode="auto">
          <a:xfrm>
            <a:off x="6003205" y="4337353"/>
            <a:ext cx="5613400" cy="4413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fontAlgn="base">
              <a:spcBef>
                <a:spcPct val="0"/>
              </a:spcBef>
              <a:spcAft>
                <a:spcPct val="0"/>
              </a:spcAft>
              <a:buClr>
                <a:srgbClr val="FA6414"/>
              </a:buClr>
            </a:pPr>
            <a:r>
              <a:rPr lang="fr-CA" sz="1100" b="1" kern="1400" dirty="0">
                <a:solidFill>
                  <a:srgbClr val="1A003B"/>
                </a:solidFill>
                <a:latin typeface="Calibri" panose="020F0502020204030204" pitchFamily="34" charset="0"/>
                <a:ea typeface="Times New Roman" panose="02020603050405020304" pitchFamily="18" charset="0"/>
                <a:cs typeface="Calibri" panose="020F0502020204030204" pitchFamily="34" charset="0"/>
              </a:rPr>
              <a:t>Dernières annonces</a:t>
            </a:r>
          </a:p>
        </p:txBody>
      </p:sp>
      <p:cxnSp>
        <p:nvCxnSpPr>
          <p:cNvPr id="101" name="Connecteur droit 100">
            <a:extLst>
              <a:ext uri="{FF2B5EF4-FFF2-40B4-BE49-F238E27FC236}">
                <a16:creationId xmlns:a16="http://schemas.microsoft.com/office/drawing/2014/main" id="{31F5732E-830B-4973-8237-9325C166A666}"/>
              </a:ext>
            </a:extLst>
          </p:cNvPr>
          <p:cNvCxnSpPr>
            <a:cxnSpLocks/>
          </p:cNvCxnSpPr>
          <p:nvPr/>
        </p:nvCxnSpPr>
        <p:spPr>
          <a:xfrm>
            <a:off x="9240889" y="4925091"/>
            <a:ext cx="0" cy="140400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102" name="Image 101">
            <a:extLst>
              <a:ext uri="{FF2B5EF4-FFF2-40B4-BE49-F238E27FC236}">
                <a16:creationId xmlns:a16="http://schemas.microsoft.com/office/drawing/2014/main" id="{ADAB5243-799D-430E-968D-3F885EFE4B0F}"/>
              </a:ext>
            </a:extLst>
          </p:cNvPr>
          <p:cNvPicPr>
            <a:picLocks/>
          </p:cNvPicPr>
          <p:nvPr/>
        </p:nvPicPr>
        <p:blipFill>
          <a:blip r:embed="rId29"/>
          <a:stretch>
            <a:fillRect/>
          </a:stretch>
        </p:blipFill>
        <p:spPr>
          <a:xfrm>
            <a:off x="7034422" y="4578852"/>
            <a:ext cx="684213" cy="441448"/>
          </a:xfrm>
          <a:prstGeom prst="rect">
            <a:avLst/>
          </a:prstGeom>
        </p:spPr>
      </p:pic>
      <p:pic>
        <p:nvPicPr>
          <p:cNvPr id="103" name="Image 102">
            <a:extLst>
              <a:ext uri="{FF2B5EF4-FFF2-40B4-BE49-F238E27FC236}">
                <a16:creationId xmlns:a16="http://schemas.microsoft.com/office/drawing/2014/main" id="{796BCA53-CE98-4823-A0B6-E73339B26374}"/>
              </a:ext>
            </a:extLst>
          </p:cNvPr>
          <p:cNvPicPr>
            <a:picLocks/>
          </p:cNvPicPr>
          <p:nvPr/>
        </p:nvPicPr>
        <p:blipFill rotWithShape="1">
          <a:blip r:embed="rId30"/>
          <a:srcRect t="63342"/>
          <a:stretch/>
        </p:blipFill>
        <p:spPr>
          <a:xfrm>
            <a:off x="9454063" y="4789397"/>
            <a:ext cx="684213" cy="166688"/>
          </a:xfrm>
          <a:prstGeom prst="rect">
            <a:avLst/>
          </a:prstGeom>
        </p:spPr>
      </p:pic>
      <p:cxnSp>
        <p:nvCxnSpPr>
          <p:cNvPr id="16" name="Connecteur droit 15">
            <a:extLst>
              <a:ext uri="{FF2B5EF4-FFF2-40B4-BE49-F238E27FC236}">
                <a16:creationId xmlns:a16="http://schemas.microsoft.com/office/drawing/2014/main" id="{D61B3765-AA7C-46B6-9B34-B8DC253EF02B}"/>
              </a:ext>
            </a:extLst>
          </p:cNvPr>
          <p:cNvCxnSpPr/>
          <p:nvPr/>
        </p:nvCxnSpPr>
        <p:spPr>
          <a:xfrm flipV="1">
            <a:off x="238898" y="1717516"/>
            <a:ext cx="511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2" name="Connecteur droit 271">
            <a:extLst>
              <a:ext uri="{FF2B5EF4-FFF2-40B4-BE49-F238E27FC236}">
                <a16:creationId xmlns:a16="http://schemas.microsoft.com/office/drawing/2014/main" id="{0B8BD528-A892-4230-812F-CE7BBF389505}"/>
              </a:ext>
            </a:extLst>
          </p:cNvPr>
          <p:cNvCxnSpPr/>
          <p:nvPr/>
        </p:nvCxnSpPr>
        <p:spPr>
          <a:xfrm flipV="1">
            <a:off x="6035675" y="4659155"/>
            <a:ext cx="133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73" name="ZoneTexte 272">
            <a:extLst>
              <a:ext uri="{FF2B5EF4-FFF2-40B4-BE49-F238E27FC236}">
                <a16:creationId xmlns:a16="http://schemas.microsoft.com/office/drawing/2014/main" id="{ECCFAE51-245D-4D55-81AD-B97B1FD81D3E}"/>
              </a:ext>
            </a:extLst>
          </p:cNvPr>
          <p:cNvSpPr txBox="1"/>
          <p:nvPr/>
        </p:nvSpPr>
        <p:spPr>
          <a:xfrm>
            <a:off x="11009092" y="6201030"/>
            <a:ext cx="1044575" cy="184150"/>
          </a:xfrm>
          <a:prstGeom prst="rect">
            <a:avLst/>
          </a:prstGeom>
          <a:noFill/>
        </p:spPr>
        <p:txBody>
          <a:bodyPr wrap="square" rtlCol="0">
            <a:spAutoFit/>
          </a:bodyPr>
          <a:lstStyle/>
          <a:p>
            <a:r>
              <a:rPr lang="fr-FR" sz="600" dirty="0">
                <a:solidFill>
                  <a:schemeClr val="tx2"/>
                </a:solidFill>
              </a:rPr>
              <a:t> Source : Airbus, Boeing</a:t>
            </a:r>
          </a:p>
        </p:txBody>
      </p:sp>
      <p:sp>
        <p:nvSpPr>
          <p:cNvPr id="274" name="ZoneTexte 273">
            <a:extLst>
              <a:ext uri="{FF2B5EF4-FFF2-40B4-BE49-F238E27FC236}">
                <a16:creationId xmlns:a16="http://schemas.microsoft.com/office/drawing/2014/main" id="{77D109C9-1C0C-4449-984E-E7DA0AA3F340}"/>
              </a:ext>
            </a:extLst>
          </p:cNvPr>
          <p:cNvSpPr txBox="1"/>
          <p:nvPr/>
        </p:nvSpPr>
        <p:spPr>
          <a:xfrm>
            <a:off x="4724401" y="6199399"/>
            <a:ext cx="1257262" cy="184666"/>
          </a:xfrm>
          <a:prstGeom prst="rect">
            <a:avLst/>
          </a:prstGeom>
          <a:noFill/>
        </p:spPr>
        <p:txBody>
          <a:bodyPr wrap="square" rtlCol="0">
            <a:spAutoFit/>
          </a:bodyPr>
          <a:lstStyle/>
          <a:p>
            <a:r>
              <a:rPr lang="fr-FR" sz="600" dirty="0">
                <a:solidFill>
                  <a:schemeClr val="tx2"/>
                </a:solidFill>
              </a:rPr>
              <a:t> Source : estimations internes</a:t>
            </a:r>
          </a:p>
        </p:txBody>
      </p:sp>
      <p:sp>
        <p:nvSpPr>
          <p:cNvPr id="71" name="ZoneTexte 70">
            <a:extLst>
              <a:ext uri="{FF2B5EF4-FFF2-40B4-BE49-F238E27FC236}">
                <a16:creationId xmlns:a16="http://schemas.microsoft.com/office/drawing/2014/main" id="{EC6758B0-B622-4FC5-A398-E5DF4655F1C2}"/>
              </a:ext>
            </a:extLst>
          </p:cNvPr>
          <p:cNvSpPr txBox="1"/>
          <p:nvPr/>
        </p:nvSpPr>
        <p:spPr>
          <a:xfrm>
            <a:off x="9290079" y="5029368"/>
            <a:ext cx="2972722" cy="559127"/>
          </a:xfrm>
          <a:prstGeom prst="rect">
            <a:avLst/>
          </a:prstGeom>
          <a:noFill/>
        </p:spPr>
        <p:txBody>
          <a:bodyPr wrap="square" rtlCol="0">
            <a:spAutoFit/>
          </a:bodyPr>
          <a:lstStyle/>
          <a:p>
            <a:r>
              <a:rPr lang="fr-FR" sz="900" b="1" dirty="0">
                <a:solidFill>
                  <a:schemeClr val="tx2"/>
                </a:solidFill>
              </a:rPr>
              <a:t>787 (info Boeing)</a:t>
            </a:r>
          </a:p>
          <a:p>
            <a:pPr marL="447675" indent="-87313">
              <a:spcBef>
                <a:spcPts val="400"/>
              </a:spcBef>
              <a:buClr>
                <a:schemeClr val="accent5"/>
              </a:buClr>
              <a:buFont typeface="Arial" panose="020B0604020202020204" pitchFamily="34" charset="0"/>
              <a:buChar char="›"/>
            </a:pPr>
            <a:r>
              <a:rPr lang="fr-FR" sz="900" dirty="0">
                <a:solidFill>
                  <a:schemeClr val="tx2"/>
                </a:solidFill>
              </a:rPr>
              <a:t>2 AC/mois. Cadence 5 envisagée après reprise des livraisons </a:t>
            </a:r>
          </a:p>
        </p:txBody>
      </p:sp>
      <p:sp>
        <p:nvSpPr>
          <p:cNvPr id="132" name="ZoneTexte 131">
            <a:extLst>
              <a:ext uri="{FF2B5EF4-FFF2-40B4-BE49-F238E27FC236}">
                <a16:creationId xmlns:a16="http://schemas.microsoft.com/office/drawing/2014/main" id="{668BAAB6-FE9E-4B39-B5A2-66A5322C6850}"/>
              </a:ext>
            </a:extLst>
          </p:cNvPr>
          <p:cNvSpPr txBox="1"/>
          <p:nvPr/>
        </p:nvSpPr>
        <p:spPr>
          <a:xfrm>
            <a:off x="5981662" y="4922062"/>
            <a:ext cx="3412389" cy="461665"/>
          </a:xfrm>
          <a:prstGeom prst="rect">
            <a:avLst/>
          </a:prstGeom>
          <a:noFill/>
        </p:spPr>
        <p:txBody>
          <a:bodyPr wrap="square" rtlCol="0">
            <a:spAutoFit/>
          </a:bodyPr>
          <a:lstStyle/>
          <a:p>
            <a:r>
              <a:rPr lang="fr-FR" sz="800" b="1" dirty="0">
                <a:solidFill>
                  <a:schemeClr val="tx2"/>
                </a:solidFill>
              </a:rPr>
              <a:t>A320 (rate moyen)  : </a:t>
            </a:r>
            <a:r>
              <a:rPr lang="fr-FR" sz="800" dirty="0">
                <a:solidFill>
                  <a:schemeClr val="tx2"/>
                </a:solidFill>
              </a:rPr>
              <a:t>2022 : 52 AC/mois (54 AC/mois en Q4)</a:t>
            </a:r>
          </a:p>
          <a:p>
            <a:pPr marL="360362">
              <a:buClr>
                <a:schemeClr val="accent5"/>
              </a:buClr>
            </a:pPr>
            <a:r>
              <a:rPr lang="fr-FR" sz="800" dirty="0">
                <a:solidFill>
                  <a:schemeClr val="tx2"/>
                </a:solidFill>
              </a:rPr>
              <a:t>                       2023 : 63 AC/mois (66 AC/mois en Q4)</a:t>
            </a:r>
          </a:p>
          <a:p>
            <a:pPr marL="360362">
              <a:buClr>
                <a:schemeClr val="accent5"/>
              </a:buClr>
            </a:pPr>
            <a:r>
              <a:rPr lang="fr-FR" sz="800" dirty="0">
                <a:solidFill>
                  <a:schemeClr val="tx2"/>
                </a:solidFill>
              </a:rPr>
              <a:t>                       2024 : 71 AC/mois</a:t>
            </a:r>
          </a:p>
        </p:txBody>
      </p:sp>
      <p:sp>
        <p:nvSpPr>
          <p:cNvPr id="134" name="ZoneTexte 133">
            <a:extLst>
              <a:ext uri="{FF2B5EF4-FFF2-40B4-BE49-F238E27FC236}">
                <a16:creationId xmlns:a16="http://schemas.microsoft.com/office/drawing/2014/main" id="{A644C5C1-3577-4C2D-941C-1D2455CA5690}"/>
              </a:ext>
            </a:extLst>
          </p:cNvPr>
          <p:cNvSpPr txBox="1"/>
          <p:nvPr/>
        </p:nvSpPr>
        <p:spPr>
          <a:xfrm>
            <a:off x="5981662" y="5367895"/>
            <a:ext cx="2972722" cy="584775"/>
          </a:xfrm>
          <a:prstGeom prst="rect">
            <a:avLst/>
          </a:prstGeom>
          <a:noFill/>
        </p:spPr>
        <p:txBody>
          <a:bodyPr wrap="square" rtlCol="0">
            <a:spAutoFit/>
          </a:bodyPr>
          <a:lstStyle/>
          <a:p>
            <a:r>
              <a:rPr lang="fr-FR" sz="800" b="1" dirty="0">
                <a:solidFill>
                  <a:schemeClr val="tx2"/>
                </a:solidFill>
              </a:rPr>
              <a:t>A220 (rate moyen) : </a:t>
            </a:r>
            <a:r>
              <a:rPr lang="fr-FR" sz="800" dirty="0">
                <a:solidFill>
                  <a:schemeClr val="tx2"/>
                </a:solidFill>
              </a:rPr>
              <a:t>2022 : 6 AC/mois </a:t>
            </a:r>
          </a:p>
          <a:p>
            <a:pPr marL="360362">
              <a:buClr>
                <a:schemeClr val="accent5"/>
              </a:buClr>
            </a:pPr>
            <a:r>
              <a:rPr lang="fr-FR" sz="800" dirty="0">
                <a:solidFill>
                  <a:schemeClr val="tx2"/>
                </a:solidFill>
              </a:rPr>
              <a:t>                      2023 : 9 AC/mois</a:t>
            </a:r>
          </a:p>
          <a:p>
            <a:pPr marL="360362">
              <a:buClr>
                <a:schemeClr val="accent5"/>
              </a:buClr>
            </a:pPr>
            <a:r>
              <a:rPr lang="fr-FR" sz="800" dirty="0">
                <a:solidFill>
                  <a:schemeClr val="tx2"/>
                </a:solidFill>
              </a:rPr>
              <a:t>                      2024 : 11 AC/mois</a:t>
            </a:r>
          </a:p>
          <a:p>
            <a:pPr marL="360362">
              <a:buClr>
                <a:schemeClr val="accent5"/>
              </a:buClr>
            </a:pPr>
            <a:r>
              <a:rPr lang="fr-FR" sz="800" dirty="0">
                <a:solidFill>
                  <a:schemeClr val="tx2"/>
                </a:solidFill>
              </a:rPr>
              <a:t>                      2025 : 13 AC/mois</a:t>
            </a:r>
          </a:p>
        </p:txBody>
      </p:sp>
      <p:sp>
        <p:nvSpPr>
          <p:cNvPr id="135" name="ZoneTexte 134">
            <a:extLst>
              <a:ext uri="{FF2B5EF4-FFF2-40B4-BE49-F238E27FC236}">
                <a16:creationId xmlns:a16="http://schemas.microsoft.com/office/drawing/2014/main" id="{9D0EB6F1-497D-4C6F-8BDD-8BDE253AD6DF}"/>
              </a:ext>
            </a:extLst>
          </p:cNvPr>
          <p:cNvSpPr txBox="1"/>
          <p:nvPr/>
        </p:nvSpPr>
        <p:spPr>
          <a:xfrm>
            <a:off x="5981662" y="6136451"/>
            <a:ext cx="2972722" cy="215444"/>
          </a:xfrm>
          <a:prstGeom prst="rect">
            <a:avLst/>
          </a:prstGeom>
          <a:noFill/>
        </p:spPr>
        <p:txBody>
          <a:bodyPr wrap="square" rtlCol="0">
            <a:spAutoFit/>
          </a:bodyPr>
          <a:lstStyle/>
          <a:p>
            <a:r>
              <a:rPr lang="fr-FR" sz="800" b="1" dirty="0">
                <a:solidFill>
                  <a:schemeClr val="tx2"/>
                </a:solidFill>
              </a:rPr>
              <a:t>A350  :  </a:t>
            </a:r>
            <a:r>
              <a:rPr lang="fr-FR" sz="800" dirty="0">
                <a:solidFill>
                  <a:schemeClr val="tx2"/>
                </a:solidFill>
              </a:rPr>
              <a:t>2022 : 5 AC/mois puis 6/AC mois à partir de 2023</a:t>
            </a:r>
          </a:p>
        </p:txBody>
      </p:sp>
      <p:sp>
        <p:nvSpPr>
          <p:cNvPr id="136" name="ZoneTexte 135">
            <a:extLst>
              <a:ext uri="{FF2B5EF4-FFF2-40B4-BE49-F238E27FC236}">
                <a16:creationId xmlns:a16="http://schemas.microsoft.com/office/drawing/2014/main" id="{8BC96117-417D-4BE9-B527-05498D99974F}"/>
              </a:ext>
            </a:extLst>
          </p:cNvPr>
          <p:cNvSpPr txBox="1"/>
          <p:nvPr/>
        </p:nvSpPr>
        <p:spPr>
          <a:xfrm>
            <a:off x="5981662" y="5936838"/>
            <a:ext cx="2972722" cy="215444"/>
          </a:xfrm>
          <a:prstGeom prst="rect">
            <a:avLst/>
          </a:prstGeom>
          <a:noFill/>
        </p:spPr>
        <p:txBody>
          <a:bodyPr wrap="square" rtlCol="0">
            <a:spAutoFit/>
          </a:bodyPr>
          <a:lstStyle/>
          <a:p>
            <a:r>
              <a:rPr lang="fr-FR" sz="800" b="1" dirty="0">
                <a:solidFill>
                  <a:schemeClr val="tx2"/>
                </a:solidFill>
              </a:rPr>
              <a:t>A330  :  </a:t>
            </a:r>
            <a:r>
              <a:rPr lang="fr-FR" sz="800" dirty="0">
                <a:solidFill>
                  <a:schemeClr val="tx2"/>
                </a:solidFill>
              </a:rPr>
              <a:t>2022 : 2 AC/mois puis 3/AC mois à partir de 2023</a:t>
            </a:r>
          </a:p>
        </p:txBody>
      </p:sp>
      <p:sp>
        <p:nvSpPr>
          <p:cNvPr id="31" name="ZoneTexte 30">
            <a:extLst>
              <a:ext uri="{FF2B5EF4-FFF2-40B4-BE49-F238E27FC236}">
                <a16:creationId xmlns:a16="http://schemas.microsoft.com/office/drawing/2014/main" id="{606CF62E-C208-4D8C-9BC1-C3A0985240AB}"/>
              </a:ext>
            </a:extLst>
          </p:cNvPr>
          <p:cNvSpPr txBox="1"/>
          <p:nvPr/>
        </p:nvSpPr>
        <p:spPr>
          <a:xfrm>
            <a:off x="7744005" y="4665092"/>
            <a:ext cx="851041" cy="246221"/>
          </a:xfrm>
          <a:prstGeom prst="rect">
            <a:avLst/>
          </a:prstGeom>
          <a:noFill/>
        </p:spPr>
        <p:txBody>
          <a:bodyPr wrap="square" rtlCol="0">
            <a:spAutoFit/>
          </a:bodyPr>
          <a:lstStyle/>
          <a:p>
            <a:r>
              <a:rPr lang="fr-FR" sz="1000" b="1" dirty="0">
                <a:solidFill>
                  <a:schemeClr val="tx2"/>
                </a:solidFill>
                <a:latin typeface="Calibri" panose="020F0502020204030204" pitchFamily="34" charset="0"/>
                <a:cs typeface="Calibri" panose="020F0502020204030204" pitchFamily="34" charset="0"/>
              </a:rPr>
              <a:t>(</a:t>
            </a:r>
            <a:r>
              <a:rPr lang="fr-FR" sz="1000" b="1" dirty="0" err="1">
                <a:solidFill>
                  <a:schemeClr val="tx2"/>
                </a:solidFill>
                <a:latin typeface="Calibri" panose="020F0502020204030204" pitchFamily="34" charset="0"/>
                <a:cs typeface="Calibri" panose="020F0502020204030204" pitchFamily="34" charset="0"/>
              </a:rPr>
              <a:t>Pg</a:t>
            </a:r>
            <a:r>
              <a:rPr lang="fr-FR" sz="1000" b="1" dirty="0">
                <a:solidFill>
                  <a:schemeClr val="tx2"/>
                </a:solidFill>
                <a:latin typeface="Calibri" panose="020F0502020204030204" pitchFamily="34" charset="0"/>
                <a:cs typeface="Calibri" panose="020F0502020204030204" pitchFamily="34" charset="0"/>
              </a:rPr>
              <a:t> #130)</a:t>
            </a:r>
          </a:p>
        </p:txBody>
      </p:sp>
      <p:pic>
        <p:nvPicPr>
          <p:cNvPr id="256" name="Image 255">
            <a:extLst>
              <a:ext uri="{FF2B5EF4-FFF2-40B4-BE49-F238E27FC236}">
                <a16:creationId xmlns:a16="http://schemas.microsoft.com/office/drawing/2014/main" id="{798BDB5D-B0CC-4290-8C1E-4973622AF86A}"/>
              </a:ext>
            </a:extLst>
          </p:cNvPr>
          <p:cNvPicPr>
            <a:picLocks noChangeAspect="1"/>
          </p:cNvPicPr>
          <p:nvPr/>
        </p:nvPicPr>
        <p:blipFill>
          <a:blip r:embed="rId31"/>
          <a:stretch>
            <a:fillRect/>
          </a:stretch>
        </p:blipFill>
        <p:spPr>
          <a:xfrm>
            <a:off x="283934" y="2087273"/>
            <a:ext cx="5551574" cy="3500953"/>
          </a:xfrm>
          <a:prstGeom prst="rect">
            <a:avLst/>
          </a:prstGeom>
        </p:spPr>
      </p:pic>
      <p:sp>
        <p:nvSpPr>
          <p:cNvPr id="56" name="Rectangle 55">
            <a:extLst>
              <a:ext uri="{FF2B5EF4-FFF2-40B4-BE49-F238E27FC236}">
                <a16:creationId xmlns:a16="http://schemas.microsoft.com/office/drawing/2014/main" id="{A39010D1-F9C5-4A3C-99B2-28629C932579}"/>
              </a:ext>
            </a:extLst>
          </p:cNvPr>
          <p:cNvSpPr/>
          <p:nvPr/>
        </p:nvSpPr>
        <p:spPr>
          <a:xfrm>
            <a:off x="6003205" y="1364325"/>
            <a:ext cx="5981943" cy="3060355"/>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7" name="Rectangle 56">
            <a:extLst>
              <a:ext uri="{FF2B5EF4-FFF2-40B4-BE49-F238E27FC236}">
                <a16:creationId xmlns:a16="http://schemas.microsoft.com/office/drawing/2014/main" id="{E685962F-7337-41E7-8A5E-0D24332E6A89}"/>
              </a:ext>
            </a:extLst>
          </p:cNvPr>
          <p:cNvSpPr/>
          <p:nvPr/>
        </p:nvSpPr>
        <p:spPr bwMode="auto">
          <a:xfrm>
            <a:off x="6013355" y="1322206"/>
            <a:ext cx="5613400" cy="4413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fontAlgn="base">
              <a:spcBef>
                <a:spcPct val="0"/>
              </a:spcBef>
              <a:spcAft>
                <a:spcPct val="0"/>
              </a:spcAft>
              <a:buClr>
                <a:srgbClr val="FA6414"/>
              </a:buClr>
            </a:pPr>
            <a:r>
              <a:rPr lang="fr-CA" sz="1100" b="1" kern="1400" dirty="0">
                <a:solidFill>
                  <a:srgbClr val="1A003B"/>
                </a:solidFill>
                <a:latin typeface="Calibri" panose="020F0502020204030204" pitchFamily="34" charset="0"/>
                <a:ea typeface="Times New Roman" panose="02020603050405020304" pitchFamily="18" charset="0"/>
                <a:cs typeface="Calibri" panose="020F0502020204030204" pitchFamily="34" charset="0"/>
              </a:rPr>
              <a:t>Cadences de production mensuelle à date vs Mois-1</a:t>
            </a:r>
          </a:p>
        </p:txBody>
      </p:sp>
      <p:graphicFrame>
        <p:nvGraphicFramePr>
          <p:cNvPr id="58" name="Chart 3">
            <a:extLst>
              <a:ext uri="{FF2B5EF4-FFF2-40B4-BE49-F238E27FC236}">
                <a16:creationId xmlns:a16="http://schemas.microsoft.com/office/drawing/2014/main" id="{AA9C07FF-99B6-421B-8566-A21672F4635B}"/>
              </a:ext>
            </a:extLst>
          </p:cNvPr>
          <p:cNvGraphicFramePr/>
          <p:nvPr>
            <p:custDataLst>
              <p:tags r:id="rId3"/>
            </p:custDataLst>
            <p:extLst>
              <p:ext uri="{D42A27DB-BD31-4B8C-83A1-F6EECF244321}">
                <p14:modId xmlns:p14="http://schemas.microsoft.com/office/powerpoint/2010/main" val="1033742720"/>
              </p:ext>
            </p:extLst>
          </p:nvPr>
        </p:nvGraphicFramePr>
        <p:xfrm>
          <a:off x="6016831" y="2054225"/>
          <a:ext cx="2290763" cy="2201863"/>
        </p:xfrm>
        <a:graphic>
          <a:graphicData uri="http://schemas.openxmlformats.org/drawingml/2006/chart">
            <c:chart xmlns:c="http://schemas.openxmlformats.org/drawingml/2006/chart" xmlns:r="http://schemas.openxmlformats.org/officeDocument/2006/relationships" r:id="rId32"/>
          </a:graphicData>
        </a:graphic>
      </p:graphicFrame>
      <p:sp>
        <p:nvSpPr>
          <p:cNvPr id="59" name="Espace réservé du texte 2">
            <a:extLst>
              <a:ext uri="{FF2B5EF4-FFF2-40B4-BE49-F238E27FC236}">
                <a16:creationId xmlns:a16="http://schemas.microsoft.com/office/drawing/2014/main" id="{0B5B200B-1B5E-461C-A238-90BFCC48DA8A}"/>
              </a:ext>
            </a:extLst>
          </p:cNvPr>
          <p:cNvSpPr>
            <a:spLocks noGrp="1"/>
          </p:cNvSpPr>
          <p:nvPr>
            <p:custDataLst>
              <p:tags r:id="rId4"/>
            </p:custDataLst>
          </p:nvPr>
        </p:nvSpPr>
        <p:spPr bwMode="auto">
          <a:xfrm>
            <a:off x="8310769" y="3841750"/>
            <a:ext cx="2714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287CEE8B-8F21-496D-894F-FA7358D2A268}" type="datetime'''''A''''''''''''3''''''''5''''''0'">
              <a:rPr lang="fr-FR" altLang="en-US" sz="1000" b="1" smtClean="0">
                <a:latin typeface="Calibri" panose="020F0502020204030204" pitchFamily="34" charset="0"/>
                <a:cs typeface="Calibri" panose="020F0502020204030204" pitchFamily="34" charset="0"/>
                <a:sym typeface="Calibri" panose="020F0502020204030204" pitchFamily="34" charset="0"/>
              </a:rPr>
              <a:pPr/>
              <a:t>A350</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60" name="Espace réservé du texte 2">
            <a:extLst>
              <a:ext uri="{FF2B5EF4-FFF2-40B4-BE49-F238E27FC236}">
                <a16:creationId xmlns:a16="http://schemas.microsoft.com/office/drawing/2014/main" id="{C2BC7AAA-CB63-47AC-92E8-124E5F16EFE6}"/>
              </a:ext>
            </a:extLst>
          </p:cNvPr>
          <p:cNvSpPr>
            <a:spLocks noGrp="1"/>
          </p:cNvSpPr>
          <p:nvPr>
            <p:custDataLst>
              <p:tags r:id="rId5"/>
            </p:custDataLst>
          </p:nvPr>
        </p:nvSpPr>
        <p:spPr bwMode="auto">
          <a:xfrm>
            <a:off x="8310769" y="2314575"/>
            <a:ext cx="2714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A55E4D64-DC0E-4302-9FD0-A225C73324DC}" type="datetime'''''A''''2''''2''''''''''''''''''''0'''''''''''''''''''''''">
              <a:rPr lang="fr-FR" altLang="en-US" sz="1000" b="1" smtClean="0">
                <a:latin typeface="Calibri" panose="020F0502020204030204" pitchFamily="34" charset="0"/>
                <a:cs typeface="Calibri" panose="020F0502020204030204" pitchFamily="34" charset="0"/>
                <a:sym typeface="Calibri" panose="020F0502020204030204" pitchFamily="34" charset="0"/>
              </a:rPr>
              <a:pPr/>
              <a:t>A220</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61" name="Espace réservé du texte 2">
            <a:extLst>
              <a:ext uri="{FF2B5EF4-FFF2-40B4-BE49-F238E27FC236}">
                <a16:creationId xmlns:a16="http://schemas.microsoft.com/office/drawing/2014/main" id="{48B0C126-731D-43DC-A495-89FA9DC69AF2}"/>
              </a:ext>
            </a:extLst>
          </p:cNvPr>
          <p:cNvSpPr>
            <a:spLocks noGrp="1"/>
          </p:cNvSpPr>
          <p:nvPr>
            <p:custDataLst>
              <p:tags r:id="rId6"/>
            </p:custDataLst>
          </p:nvPr>
        </p:nvSpPr>
        <p:spPr bwMode="auto">
          <a:xfrm>
            <a:off x="8310769" y="2824163"/>
            <a:ext cx="5238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5299C756-E723-4523-B465-58BEE8975A07}" type="datetime'''''A3''''''''''2''0 ''''''''''''F''''''''am'''''''''''''">
              <a:rPr lang="fr-FR" altLang="en-US" sz="1000" b="1" smtClean="0">
                <a:latin typeface="Calibri" panose="020F0502020204030204" pitchFamily="34" charset="0"/>
                <a:cs typeface="Calibri" panose="020F0502020204030204" pitchFamily="34" charset="0"/>
                <a:sym typeface="Calibri" panose="020F0502020204030204" pitchFamily="34" charset="0"/>
              </a:rPr>
              <a:pPr/>
              <a:t>A320 Fam</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62" name="Espace réservé du texte 2">
            <a:extLst>
              <a:ext uri="{FF2B5EF4-FFF2-40B4-BE49-F238E27FC236}">
                <a16:creationId xmlns:a16="http://schemas.microsoft.com/office/drawing/2014/main" id="{BDCDA538-705A-45B3-9365-5EC88C548C03}"/>
              </a:ext>
            </a:extLst>
          </p:cNvPr>
          <p:cNvSpPr>
            <a:spLocks noGrp="1"/>
          </p:cNvSpPr>
          <p:nvPr>
            <p:custDataLst>
              <p:tags r:id="rId7"/>
            </p:custDataLst>
          </p:nvPr>
        </p:nvSpPr>
        <p:spPr bwMode="auto">
          <a:xfrm>
            <a:off x="8310769" y="3332163"/>
            <a:ext cx="5238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E2627584-1013-40F1-8EBD-45FDBF79B48B}" type="datetime'''''A''3''''''30'''''''''''' ''''''''''Fa''''''''m'''''''''">
              <a:rPr lang="fr-FR" altLang="en-US" sz="1000" b="1" smtClean="0">
                <a:latin typeface="Calibri" panose="020F0502020204030204" pitchFamily="34" charset="0"/>
                <a:cs typeface="Calibri" panose="020F0502020204030204" pitchFamily="34" charset="0"/>
                <a:sym typeface="Calibri" panose="020F0502020204030204" pitchFamily="34" charset="0"/>
              </a:rPr>
              <a:pPr/>
              <a:t>A330 Fam</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63" name="Rectangle 62">
            <a:extLst>
              <a:ext uri="{FF2B5EF4-FFF2-40B4-BE49-F238E27FC236}">
                <a16:creationId xmlns:a16="http://schemas.microsoft.com/office/drawing/2014/main" id="{309869CB-6C94-4A86-9712-7F37302E3E49}"/>
              </a:ext>
            </a:extLst>
          </p:cNvPr>
          <p:cNvSpPr/>
          <p:nvPr>
            <p:custDataLst>
              <p:tags r:id="rId8"/>
            </p:custDataLst>
          </p:nvPr>
        </p:nvSpPr>
        <p:spPr bwMode="auto">
          <a:xfrm>
            <a:off x="10892044" y="1695450"/>
            <a:ext cx="196850" cy="147638"/>
          </a:xfrm>
          <a:prstGeom prst="rect">
            <a:avLst/>
          </a:prstGeom>
          <a:solidFill>
            <a:srgbClr val="44546A"/>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Rectangle 63">
            <a:extLst>
              <a:ext uri="{FF2B5EF4-FFF2-40B4-BE49-F238E27FC236}">
                <a16:creationId xmlns:a16="http://schemas.microsoft.com/office/drawing/2014/main" id="{2C152B05-A4C2-41F1-AB6C-AD3C0271CC42}"/>
              </a:ext>
            </a:extLst>
          </p:cNvPr>
          <p:cNvSpPr/>
          <p:nvPr>
            <p:custDataLst>
              <p:tags r:id="rId9"/>
            </p:custDataLst>
          </p:nvPr>
        </p:nvSpPr>
        <p:spPr bwMode="auto">
          <a:xfrm>
            <a:off x="10892044" y="1476375"/>
            <a:ext cx="196850" cy="147638"/>
          </a:xfrm>
          <a:prstGeom prst="rect">
            <a:avLst/>
          </a:prstGeom>
          <a:pattFill prst="ltDn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Espace réservé du texte 2">
            <a:extLst>
              <a:ext uri="{FF2B5EF4-FFF2-40B4-BE49-F238E27FC236}">
                <a16:creationId xmlns:a16="http://schemas.microsoft.com/office/drawing/2014/main" id="{A52EA9C2-256E-4BBA-9F87-71E342B31262}"/>
              </a:ext>
            </a:extLst>
          </p:cNvPr>
          <p:cNvSpPr>
            <a:spLocks noGrp="1"/>
          </p:cNvSpPr>
          <p:nvPr>
            <p:custDataLst>
              <p:tags r:id="rId10"/>
            </p:custDataLst>
          </p:nvPr>
        </p:nvSpPr>
        <p:spPr bwMode="auto">
          <a:xfrm>
            <a:off x="11139694" y="1471613"/>
            <a:ext cx="4016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14432F60-1795-450C-894F-17354596EB2A}" type="datetime'''''''M''''o''is''''-''''''''1'''''''''''''">
              <a:rPr lang="fr-FR" altLang="en-US" sz="1100" b="1" smtClean="0">
                <a:latin typeface="Calibri" panose="020F0502020204030204" pitchFamily="34" charset="0"/>
                <a:cs typeface="Calibri" panose="020F0502020204030204" pitchFamily="34" charset="0"/>
              </a:rPr>
              <a:pPr/>
              <a:t>Mois-1</a:t>
            </a:fld>
            <a:endParaRPr lang="fr-FR" sz="11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66" name="Espace réservé du texte 2">
            <a:extLst>
              <a:ext uri="{FF2B5EF4-FFF2-40B4-BE49-F238E27FC236}">
                <a16:creationId xmlns:a16="http://schemas.microsoft.com/office/drawing/2014/main" id="{2C6BA723-B124-49E4-BF9B-4F0442D5ABC8}"/>
              </a:ext>
            </a:extLst>
          </p:cNvPr>
          <p:cNvSpPr>
            <a:spLocks noGrp="1"/>
          </p:cNvSpPr>
          <p:nvPr>
            <p:custDataLst>
              <p:tags r:id="rId11"/>
            </p:custDataLst>
          </p:nvPr>
        </p:nvSpPr>
        <p:spPr bwMode="auto">
          <a:xfrm>
            <a:off x="11139694" y="1690688"/>
            <a:ext cx="3778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1E02D007-A37A-43E3-966F-3233EF8AA16B}" type="datetime'''''A'''' d''at''e'''''''''''''''''''''''''''''''''''''''''''">
              <a:rPr lang="fr-FR" altLang="en-US" sz="1100" b="1" smtClean="0">
                <a:latin typeface="Calibri" panose="020F0502020204030204" pitchFamily="34" charset="0"/>
                <a:cs typeface="Calibri" panose="020F0502020204030204" pitchFamily="34" charset="0"/>
                <a:sym typeface="Calibri" panose="020F0502020204030204" pitchFamily="34" charset="0"/>
              </a:rPr>
              <a:pPr/>
              <a:t>A date</a:t>
            </a:fld>
            <a:endParaRPr lang="fr-FR" sz="1100" b="1" noProof="0"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67" name="Chart 3">
            <a:extLst>
              <a:ext uri="{FF2B5EF4-FFF2-40B4-BE49-F238E27FC236}">
                <a16:creationId xmlns:a16="http://schemas.microsoft.com/office/drawing/2014/main" id="{23A7A7DD-7D18-4F16-90EC-92BFE882599C}"/>
              </a:ext>
            </a:extLst>
          </p:cNvPr>
          <p:cNvGraphicFramePr/>
          <p:nvPr>
            <p:custDataLst>
              <p:tags r:id="rId12"/>
            </p:custDataLst>
            <p:extLst>
              <p:ext uri="{D42A27DB-BD31-4B8C-83A1-F6EECF244321}">
                <p14:modId xmlns:p14="http://schemas.microsoft.com/office/powerpoint/2010/main" val="1659167821"/>
              </p:ext>
            </p:extLst>
          </p:nvPr>
        </p:nvGraphicFramePr>
        <p:xfrm>
          <a:off x="9514094" y="2054225"/>
          <a:ext cx="2290762" cy="2289175"/>
        </p:xfrm>
        <a:graphic>
          <a:graphicData uri="http://schemas.openxmlformats.org/drawingml/2006/chart">
            <c:chart xmlns:c="http://schemas.openxmlformats.org/drawingml/2006/chart" xmlns:r="http://schemas.openxmlformats.org/officeDocument/2006/relationships" r:id="rId34"/>
          </a:graphicData>
        </a:graphic>
      </p:graphicFrame>
      <p:sp>
        <p:nvSpPr>
          <p:cNvPr id="68" name="Espace réservé du texte 2">
            <a:extLst>
              <a:ext uri="{FF2B5EF4-FFF2-40B4-BE49-F238E27FC236}">
                <a16:creationId xmlns:a16="http://schemas.microsoft.com/office/drawing/2014/main" id="{05F7EB7C-4101-4DC1-BA79-A8A49FDDDF6B}"/>
              </a:ext>
            </a:extLst>
          </p:cNvPr>
          <p:cNvSpPr>
            <a:spLocks noGrp="1"/>
          </p:cNvSpPr>
          <p:nvPr>
            <p:custDataLst>
              <p:tags r:id="rId13"/>
            </p:custDataLst>
          </p:nvPr>
        </p:nvSpPr>
        <p:spPr bwMode="auto">
          <a:xfrm>
            <a:off x="9245806" y="3652838"/>
            <a:ext cx="2651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453E3779-2DFD-448E-B7AD-544BAB77807E}" type="datetime'''''''''''''''''77''''''''7X'''''''''''''''''''">
              <a:rPr lang="fr-FR" altLang="en-US" sz="1000" b="1" smtClean="0">
                <a:latin typeface="Calibri" panose="020F0502020204030204" pitchFamily="34" charset="0"/>
                <a:cs typeface="Calibri" panose="020F0502020204030204" pitchFamily="34" charset="0"/>
                <a:sym typeface="Calibri" panose="020F0502020204030204" pitchFamily="34" charset="0"/>
              </a:rPr>
              <a:pPr/>
              <a:t>777X</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69" name="Espace réservé du texte 2">
            <a:extLst>
              <a:ext uri="{FF2B5EF4-FFF2-40B4-BE49-F238E27FC236}">
                <a16:creationId xmlns:a16="http://schemas.microsoft.com/office/drawing/2014/main" id="{9BFBD9D9-A1EF-4228-B27D-DF2BFBD83C85}"/>
              </a:ext>
            </a:extLst>
          </p:cNvPr>
          <p:cNvSpPr>
            <a:spLocks noGrp="1"/>
          </p:cNvSpPr>
          <p:nvPr>
            <p:custDataLst>
              <p:tags r:id="rId14"/>
            </p:custDataLst>
          </p:nvPr>
        </p:nvSpPr>
        <p:spPr bwMode="auto">
          <a:xfrm>
            <a:off x="9063244" y="2236788"/>
            <a:ext cx="4476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1228CC2B-7A05-4819-9A8D-7FE434D1A597}" type="datetime'7''''3''''''''''''''7 F''''''''''''''''''''a''''m'''''">
              <a:rPr lang="fr-FR" altLang="en-US" sz="1000" b="1" smtClean="0">
                <a:latin typeface="Calibri" panose="020F0502020204030204" pitchFamily="34" charset="0"/>
                <a:cs typeface="Calibri" panose="020F0502020204030204" pitchFamily="34" charset="0"/>
                <a:sym typeface="Calibri" panose="020F0502020204030204" pitchFamily="34" charset="0"/>
              </a:rPr>
              <a:pPr/>
              <a:t>737 Fam</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70" name="Espace réservé du texte 2">
            <a:extLst>
              <a:ext uri="{FF2B5EF4-FFF2-40B4-BE49-F238E27FC236}">
                <a16:creationId xmlns:a16="http://schemas.microsoft.com/office/drawing/2014/main" id="{F08B5E2B-BB39-479A-9431-84CC033B030A}"/>
              </a:ext>
            </a:extLst>
          </p:cNvPr>
          <p:cNvSpPr>
            <a:spLocks noGrp="1"/>
          </p:cNvSpPr>
          <p:nvPr>
            <p:custDataLst>
              <p:tags r:id="rId15"/>
            </p:custDataLst>
          </p:nvPr>
        </p:nvSpPr>
        <p:spPr bwMode="gray">
          <a:xfrm>
            <a:off x="9674431" y="2527300"/>
            <a:ext cx="196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r>
              <a:rPr lang="fr-FR" altLang="en-US" sz="1000">
                <a:solidFill>
                  <a:schemeClr val="bg1">
                    <a:lumMod val="75000"/>
                  </a:schemeClr>
                </a:solidFill>
                <a:latin typeface="Calibri" panose="020F0502020204030204" pitchFamily="34" charset="0"/>
                <a:cs typeface="Calibri" panose="020F0502020204030204" pitchFamily="34" charset="0"/>
                <a:sym typeface="Calibri" panose="020F0502020204030204" pitchFamily="34" charset="0"/>
              </a:rPr>
              <a:t>0,5</a:t>
            </a:r>
            <a:endParaRPr lang="fr-FR" sz="1000" noProof="0" dirty="0">
              <a:solidFill>
                <a:schemeClr val="bg1">
                  <a:lumMod val="7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2" name="Espace réservé du texte 2">
            <a:extLst>
              <a:ext uri="{FF2B5EF4-FFF2-40B4-BE49-F238E27FC236}">
                <a16:creationId xmlns:a16="http://schemas.microsoft.com/office/drawing/2014/main" id="{BD7495C4-5A7B-4A81-8402-247150BBE01B}"/>
              </a:ext>
            </a:extLst>
          </p:cNvPr>
          <p:cNvSpPr>
            <a:spLocks noGrp="1"/>
          </p:cNvSpPr>
          <p:nvPr>
            <p:custDataLst>
              <p:tags r:id="rId16"/>
            </p:custDataLst>
          </p:nvPr>
        </p:nvSpPr>
        <p:spPr bwMode="auto">
          <a:xfrm>
            <a:off x="9315656" y="2590800"/>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4031A3A7-738A-4836-9D0E-BB32DA6469E1}" type="datetime'7''''''''''''''''''''''''4''''7'''''''''''''''''''''''">
              <a:rPr lang="fr-FR" altLang="en-US" sz="1000" b="1" smtClean="0">
                <a:latin typeface="Calibri" panose="020F0502020204030204" pitchFamily="34" charset="0"/>
                <a:cs typeface="Calibri" panose="020F0502020204030204" pitchFamily="34" charset="0"/>
                <a:sym typeface="Calibri" panose="020F0502020204030204" pitchFamily="34" charset="0"/>
              </a:rPr>
              <a:pPr/>
              <a:t>747</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73" name="Espace réservé du texte 2">
            <a:extLst>
              <a:ext uri="{FF2B5EF4-FFF2-40B4-BE49-F238E27FC236}">
                <a16:creationId xmlns:a16="http://schemas.microsoft.com/office/drawing/2014/main" id="{D7640440-59F2-482F-A5DC-AAB3C0A49F1B}"/>
              </a:ext>
            </a:extLst>
          </p:cNvPr>
          <p:cNvSpPr>
            <a:spLocks noGrp="1"/>
          </p:cNvSpPr>
          <p:nvPr>
            <p:custDataLst>
              <p:tags r:id="rId17"/>
            </p:custDataLst>
          </p:nvPr>
        </p:nvSpPr>
        <p:spPr bwMode="auto">
          <a:xfrm>
            <a:off x="9315656" y="2944813"/>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4D250BE5-CF03-4CDF-88EE-BF4FDB089DFF}" type="datetime'''''76''''''''''''7'''''''''''''''''''''''''''''''''">
              <a:rPr lang="fr-FR" altLang="en-US" sz="1000" b="1" smtClean="0">
                <a:latin typeface="Calibri" panose="020F0502020204030204" pitchFamily="34" charset="0"/>
                <a:cs typeface="Calibri" panose="020F0502020204030204" pitchFamily="34" charset="0"/>
                <a:sym typeface="Calibri" panose="020F0502020204030204" pitchFamily="34" charset="0"/>
              </a:rPr>
              <a:pPr/>
              <a:t>767</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74" name="Espace réservé du texte 2">
            <a:extLst>
              <a:ext uri="{FF2B5EF4-FFF2-40B4-BE49-F238E27FC236}">
                <a16:creationId xmlns:a16="http://schemas.microsoft.com/office/drawing/2014/main" id="{8C65D0BE-D856-4956-BA10-5CEC2CE46159}"/>
              </a:ext>
            </a:extLst>
          </p:cNvPr>
          <p:cNvSpPr>
            <a:spLocks noGrp="1"/>
          </p:cNvSpPr>
          <p:nvPr>
            <p:custDataLst>
              <p:tags r:id="rId18"/>
            </p:custDataLst>
          </p:nvPr>
        </p:nvSpPr>
        <p:spPr bwMode="auto">
          <a:xfrm>
            <a:off x="9315656" y="3298825"/>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8C6899FF-114F-4FFC-8649-9BB808A6C06E}" type="datetime'''''''7''''''''''''''''''''7''''''''''''''''''''7'''''''''''">
              <a:rPr lang="fr-FR" altLang="en-US" sz="1000" b="1" smtClean="0">
                <a:latin typeface="Calibri" panose="020F0502020204030204" pitchFamily="34" charset="0"/>
                <a:cs typeface="Calibri" panose="020F0502020204030204" pitchFamily="34" charset="0"/>
                <a:sym typeface="Calibri" panose="020F0502020204030204" pitchFamily="34" charset="0"/>
              </a:rPr>
              <a:pPr/>
              <a:t>777</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75" name="Espace réservé du texte 2">
            <a:extLst>
              <a:ext uri="{FF2B5EF4-FFF2-40B4-BE49-F238E27FC236}">
                <a16:creationId xmlns:a16="http://schemas.microsoft.com/office/drawing/2014/main" id="{6DC4A693-D4B1-4A15-9A20-D867A404BEE8}"/>
              </a:ext>
            </a:extLst>
          </p:cNvPr>
          <p:cNvSpPr>
            <a:spLocks noGrp="1"/>
          </p:cNvSpPr>
          <p:nvPr>
            <p:custDataLst>
              <p:tags r:id="rId19"/>
            </p:custDataLst>
          </p:nvPr>
        </p:nvSpPr>
        <p:spPr bwMode="auto">
          <a:xfrm>
            <a:off x="9315656" y="4006850"/>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4F1AAD77-5191-4649-BA09-04005EAED59B}" type="datetime'''''7''8''''''''''''7'''''''''''''''''''''''''''">
              <a:rPr lang="fr-FR" altLang="en-US" sz="1000" b="1" smtClean="0">
                <a:latin typeface="Calibri" panose="020F0502020204030204" pitchFamily="34" charset="0"/>
                <a:cs typeface="Calibri" panose="020F0502020204030204" pitchFamily="34" charset="0"/>
                <a:sym typeface="Calibri" panose="020F0502020204030204" pitchFamily="34" charset="0"/>
              </a:rPr>
              <a:pPr/>
              <a:t>787</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76" name="Espace réservé du texte 2">
            <a:extLst>
              <a:ext uri="{FF2B5EF4-FFF2-40B4-BE49-F238E27FC236}">
                <a16:creationId xmlns:a16="http://schemas.microsoft.com/office/drawing/2014/main" id="{C95D9A18-2A68-4DAE-8C30-4031A4D6F3D8}"/>
              </a:ext>
            </a:extLst>
          </p:cNvPr>
          <p:cNvSpPr>
            <a:spLocks noGrp="1"/>
          </p:cNvSpPr>
          <p:nvPr>
            <p:custDataLst>
              <p:tags r:id="rId20"/>
            </p:custDataLst>
          </p:nvPr>
        </p:nvSpPr>
        <p:spPr bwMode="gray">
          <a:xfrm>
            <a:off x="9674431" y="2654300"/>
            <a:ext cx="198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r>
              <a:rPr lang="fr-FR" sz="1000" b="1" noProof="0">
                <a:latin typeface="Calibri" panose="020F0502020204030204" pitchFamily="34" charset="0"/>
                <a:cs typeface="Calibri" panose="020F0502020204030204" pitchFamily="34" charset="0"/>
                <a:sym typeface="Calibri" panose="020F0502020204030204" pitchFamily="34" charset="0"/>
              </a:rPr>
              <a:t>0,5</a:t>
            </a:r>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77" name="Espace réservé du texte 2">
            <a:extLst>
              <a:ext uri="{FF2B5EF4-FFF2-40B4-BE49-F238E27FC236}">
                <a16:creationId xmlns:a16="http://schemas.microsoft.com/office/drawing/2014/main" id="{D01A9041-257D-4C8F-951B-BC12F04DD24B}"/>
              </a:ext>
            </a:extLst>
          </p:cNvPr>
          <p:cNvSpPr>
            <a:spLocks noGrp="1"/>
          </p:cNvSpPr>
          <p:nvPr>
            <p:custDataLst>
              <p:tags r:id="rId21"/>
            </p:custDataLst>
          </p:nvPr>
        </p:nvSpPr>
        <p:spPr bwMode="gray">
          <a:xfrm>
            <a:off x="9622044" y="3589338"/>
            <a:ext cx="1000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BA95F53F-0A7E-4F5D-96B1-1B640FED070E}" type="datetime'''''''''''''''''''''''''''''''''''''''0'''''''''''''">
              <a:rPr lang="fr-FR" altLang="en-US" sz="1000" smtClean="0">
                <a:solidFill>
                  <a:schemeClr val="bg1">
                    <a:lumMod val="75000"/>
                  </a:schemeClr>
                </a:solidFill>
                <a:effectLst/>
                <a:latin typeface="Calibri" panose="020F0502020204030204" pitchFamily="34" charset="0"/>
                <a:cs typeface="Calibri" panose="020F0502020204030204" pitchFamily="34" charset="0"/>
                <a:sym typeface="Calibri" panose="020F0502020204030204" pitchFamily="34" charset="0"/>
              </a:rPr>
              <a:pPr lvl="1">
                <a:spcBef>
                  <a:spcPct val="0"/>
                </a:spcBef>
                <a:spcAft>
                  <a:spcPct val="0"/>
                </a:spcAft>
              </a:pPr>
              <a:t>0</a:t>
            </a:fld>
            <a:endParaRPr lang="fr-FR" sz="1000" noProof="0" dirty="0">
              <a:solidFill>
                <a:schemeClr val="bg1">
                  <a:lumMod val="7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8" name="Espace réservé du texte 2">
            <a:extLst>
              <a:ext uri="{FF2B5EF4-FFF2-40B4-BE49-F238E27FC236}">
                <a16:creationId xmlns:a16="http://schemas.microsoft.com/office/drawing/2014/main" id="{75C3C945-F71F-44B8-A452-C532E59FBB4A}"/>
              </a:ext>
            </a:extLst>
          </p:cNvPr>
          <p:cNvSpPr>
            <a:spLocks noGrp="1"/>
          </p:cNvSpPr>
          <p:nvPr>
            <p:custDataLst>
              <p:tags r:id="rId22"/>
            </p:custDataLst>
          </p:nvPr>
        </p:nvSpPr>
        <p:spPr bwMode="gray">
          <a:xfrm>
            <a:off x="9622044" y="3716338"/>
            <a:ext cx="1000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3"/>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9CE3E7E5-1AB0-4F6E-A403-0A7CE66DD746}" type="datetime'''''''''0'''''">
              <a:rPr lang="fr-FR" altLang="en-US" sz="1000" b="1" smtClean="0">
                <a:effectLst/>
                <a:latin typeface="Calibri" panose="020F0502020204030204" pitchFamily="34" charset="0"/>
                <a:cs typeface="Calibri" panose="020F0502020204030204" pitchFamily="34" charset="0"/>
                <a:sym typeface="Calibri" panose="020F0502020204030204" pitchFamily="34" charset="0"/>
              </a:rPr>
              <a:pPr lvl="1">
                <a:spcBef>
                  <a:spcPct val="0"/>
                </a:spcBef>
                <a:spcAft>
                  <a:spcPct val="0"/>
                </a:spcAft>
              </a:pPr>
              <a:t>0</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79" name="ZoneTexte 78">
            <a:extLst>
              <a:ext uri="{FF2B5EF4-FFF2-40B4-BE49-F238E27FC236}">
                <a16:creationId xmlns:a16="http://schemas.microsoft.com/office/drawing/2014/main" id="{127515C1-A7A8-4A41-8455-7AA6E3B8EAAE}"/>
              </a:ext>
            </a:extLst>
          </p:cNvPr>
          <p:cNvSpPr txBox="1"/>
          <p:nvPr/>
        </p:nvSpPr>
        <p:spPr>
          <a:xfrm>
            <a:off x="10959442" y="4202646"/>
            <a:ext cx="1044575" cy="184150"/>
          </a:xfrm>
          <a:prstGeom prst="rect">
            <a:avLst/>
          </a:prstGeom>
          <a:noFill/>
        </p:spPr>
        <p:txBody>
          <a:bodyPr wrap="square" rtlCol="0">
            <a:spAutoFit/>
          </a:bodyPr>
          <a:lstStyle/>
          <a:p>
            <a:r>
              <a:rPr lang="fr-FR" sz="600" dirty="0">
                <a:solidFill>
                  <a:schemeClr val="tx2"/>
                </a:solidFill>
              </a:rPr>
              <a:t> Source : Airbus, Boeing</a:t>
            </a:r>
          </a:p>
        </p:txBody>
      </p:sp>
      <p:pic>
        <p:nvPicPr>
          <p:cNvPr id="80" name="Image 79">
            <a:extLst>
              <a:ext uri="{FF2B5EF4-FFF2-40B4-BE49-F238E27FC236}">
                <a16:creationId xmlns:a16="http://schemas.microsoft.com/office/drawing/2014/main" id="{D60916D3-B8BB-4689-AA37-709305E1B386}"/>
              </a:ext>
            </a:extLst>
          </p:cNvPr>
          <p:cNvPicPr>
            <a:picLocks/>
          </p:cNvPicPr>
          <p:nvPr/>
        </p:nvPicPr>
        <p:blipFill>
          <a:blip r:embed="rId29"/>
          <a:stretch>
            <a:fillRect/>
          </a:stretch>
        </p:blipFill>
        <p:spPr>
          <a:xfrm>
            <a:off x="6737556" y="1792288"/>
            <a:ext cx="684213" cy="455613"/>
          </a:xfrm>
          <a:prstGeom prst="rect">
            <a:avLst/>
          </a:prstGeom>
        </p:spPr>
      </p:pic>
      <p:pic>
        <p:nvPicPr>
          <p:cNvPr id="81" name="Image 80">
            <a:extLst>
              <a:ext uri="{FF2B5EF4-FFF2-40B4-BE49-F238E27FC236}">
                <a16:creationId xmlns:a16="http://schemas.microsoft.com/office/drawing/2014/main" id="{E55614CD-10FB-4C9A-B9B3-AB5F60EA1320}"/>
              </a:ext>
            </a:extLst>
          </p:cNvPr>
          <p:cNvPicPr>
            <a:picLocks/>
          </p:cNvPicPr>
          <p:nvPr/>
        </p:nvPicPr>
        <p:blipFill rotWithShape="1">
          <a:blip r:embed="rId30"/>
          <a:srcRect t="63342"/>
          <a:stretch/>
        </p:blipFill>
        <p:spPr>
          <a:xfrm>
            <a:off x="10130044" y="1936750"/>
            <a:ext cx="684213" cy="166688"/>
          </a:xfrm>
          <a:prstGeom prst="rect">
            <a:avLst/>
          </a:prstGeom>
        </p:spPr>
      </p:pic>
      <p:cxnSp>
        <p:nvCxnSpPr>
          <p:cNvPr id="82" name="Connecteur droit 81">
            <a:extLst>
              <a:ext uri="{FF2B5EF4-FFF2-40B4-BE49-F238E27FC236}">
                <a16:creationId xmlns:a16="http://schemas.microsoft.com/office/drawing/2014/main" id="{3F938137-B97A-446F-839E-CDD23F5C2C47}"/>
              </a:ext>
            </a:extLst>
          </p:cNvPr>
          <p:cNvCxnSpPr>
            <a:cxnSpLocks/>
          </p:cNvCxnSpPr>
          <p:nvPr/>
        </p:nvCxnSpPr>
        <p:spPr>
          <a:xfrm>
            <a:off x="8963231" y="1973263"/>
            <a:ext cx="0" cy="215900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83" name="Connecteur droit 82">
            <a:extLst>
              <a:ext uri="{FF2B5EF4-FFF2-40B4-BE49-F238E27FC236}">
                <a16:creationId xmlns:a16="http://schemas.microsoft.com/office/drawing/2014/main" id="{42F66899-CA62-4757-8E07-A918609E64DC}"/>
              </a:ext>
            </a:extLst>
          </p:cNvPr>
          <p:cNvCxnSpPr/>
          <p:nvPr/>
        </p:nvCxnSpPr>
        <p:spPr>
          <a:xfrm flipV="1">
            <a:off x="6105731" y="1717516"/>
            <a:ext cx="3420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315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A7668-F055-4F95-BFC7-13B8944E8B27}"/>
              </a:ext>
            </a:extLst>
          </p:cNvPr>
          <p:cNvGraphicFramePr>
            <a:graphicFrameLocks noChangeAspect="1"/>
          </p:cNvGraphicFramePr>
          <p:nvPr>
            <p:custDataLst>
              <p:tags r:id="rId1"/>
            </p:custDataLst>
            <p:extLst>
              <p:ext uri="{D42A27DB-BD31-4B8C-83A1-F6EECF244321}">
                <p14:modId xmlns:p14="http://schemas.microsoft.com/office/powerpoint/2010/main" val="242445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44" imgH="344" progId="TCLayout.ActiveDocument.1">
                  <p:embed/>
                </p:oleObj>
              </mc:Choice>
              <mc:Fallback>
                <p:oleObj name="Diapositive think-cell" r:id="rId5" imgW="344" imgH="344" progId="TCLayout.ActiveDocument.1">
                  <p:embed/>
                  <p:pic>
                    <p:nvPicPr>
                      <p:cNvPr id="8" name="Objet 7" hidden="1">
                        <a:extLst>
                          <a:ext uri="{FF2B5EF4-FFF2-40B4-BE49-F238E27FC236}">
                            <a16:creationId xmlns:a16="http://schemas.microsoft.com/office/drawing/2014/main" id="{E7DA7668-F055-4F95-BFC7-13B8944E8B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014238A3-36EC-4E98-A577-C0177F492E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25EB0EC0-0933-4992-8D7A-15F7F1CE633A}"/>
              </a:ext>
            </a:extLst>
          </p:cNvPr>
          <p:cNvSpPr>
            <a:spLocks noGrp="1"/>
          </p:cNvSpPr>
          <p:nvPr>
            <p:ph type="title"/>
          </p:nvPr>
        </p:nvSpPr>
        <p:spPr/>
        <p:txBody>
          <a:bodyPr/>
          <a:lstStyle/>
          <a:p>
            <a:r>
              <a:rPr lang="fr-FR" dirty="0"/>
              <a:t>Tableau 1 : Cadence moyenne mensuelle FAL </a:t>
            </a:r>
          </a:p>
        </p:txBody>
      </p:sp>
      <p:sp>
        <p:nvSpPr>
          <p:cNvPr id="6" name="Espace réservé du pied de page 5">
            <a:extLst>
              <a:ext uri="{FF2B5EF4-FFF2-40B4-BE49-F238E27FC236}">
                <a16:creationId xmlns:a16="http://schemas.microsoft.com/office/drawing/2014/main" id="{DC6CCB95-1F50-4BA4-B4AB-560C54020EAC}"/>
              </a:ext>
            </a:extLst>
          </p:cNvPr>
          <p:cNvSpPr>
            <a:spLocks noGrp="1"/>
          </p:cNvSpPr>
          <p:nvPr>
            <p:ph type="ftr" sz="quarter" idx="15"/>
          </p:nvPr>
        </p:nvSpPr>
        <p:spPr>
          <a:xfrm>
            <a:off x="1149451" y="6347411"/>
            <a:ext cx="4560000" cy="440684"/>
          </a:xfrm>
        </p:spPr>
        <p:txBody>
          <a:bodyPr/>
          <a:lstStyle/>
          <a:p>
            <a:pPr algn="l"/>
            <a:r>
              <a:rPr lang="fr-FR"/>
              <a:t>Dashboard Marché Aéronautique - Nov/Dec 2021</a:t>
            </a:r>
            <a:endParaRPr lang="fr-FR" dirty="0"/>
          </a:p>
        </p:txBody>
      </p:sp>
      <p:sp>
        <p:nvSpPr>
          <p:cNvPr id="7" name="Espace réservé du numéro de diapositive 6">
            <a:extLst>
              <a:ext uri="{FF2B5EF4-FFF2-40B4-BE49-F238E27FC236}">
                <a16:creationId xmlns:a16="http://schemas.microsoft.com/office/drawing/2014/main" id="{AE277686-3CB4-4845-812A-CD9C4BBFEC57}"/>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6</a:t>
            </a:fld>
            <a:endParaRPr lang="fr-FR" dirty="0"/>
          </a:p>
        </p:txBody>
      </p:sp>
      <p:pic>
        <p:nvPicPr>
          <p:cNvPr id="30" name="Image 31">
            <a:extLst>
              <a:ext uri="{FF2B5EF4-FFF2-40B4-BE49-F238E27FC236}">
                <a16:creationId xmlns:a16="http://schemas.microsoft.com/office/drawing/2014/main" id="{F17B410F-FC81-451A-BCA1-8E145F3D36C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sp>
        <p:nvSpPr>
          <p:cNvPr id="31" name="Rectangle 30">
            <a:extLst>
              <a:ext uri="{FF2B5EF4-FFF2-40B4-BE49-F238E27FC236}">
                <a16:creationId xmlns:a16="http://schemas.microsoft.com/office/drawing/2014/main" id="{028F9A50-9264-4D88-B30E-9A2C0A44EF1D}"/>
              </a:ext>
            </a:extLst>
          </p:cNvPr>
          <p:cNvSpPr/>
          <p:nvPr>
            <p:custDataLst>
              <p:tags r:id="rId3"/>
            </p:custDataLst>
          </p:nvPr>
        </p:nvSpPr>
        <p:spPr>
          <a:xfrm>
            <a:off x="89806" y="3625389"/>
            <a:ext cx="2272923" cy="1199703"/>
          </a:xfrm>
          <a:prstGeom prst="rect">
            <a:avLst/>
          </a:prstGeom>
          <a:solidFill>
            <a:schemeClr val="accent2">
              <a:lumMod val="20000"/>
              <a:lumOff val="80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rmAutofit/>
          </a:bodyPr>
          <a:lstStyle/>
          <a:p>
            <a:r>
              <a:rPr lang="fr-FR" sz="1600" dirty="0">
                <a:solidFill>
                  <a:schemeClr val="accent4"/>
                </a:solidFill>
                <a:latin typeface="Calibri" panose="020F0502020204030204" pitchFamily="34" charset="0"/>
                <a:cs typeface="Calibri" panose="020F0502020204030204" pitchFamily="34" charset="0"/>
              </a:rPr>
              <a:t>Double-cliquer sur le tableau pour accéder au filtre</a:t>
            </a:r>
          </a:p>
        </p:txBody>
      </p:sp>
      <p:graphicFrame>
        <p:nvGraphicFramePr>
          <p:cNvPr id="5" name="Objet 4">
            <a:extLst>
              <a:ext uri="{FF2B5EF4-FFF2-40B4-BE49-F238E27FC236}">
                <a16:creationId xmlns:a16="http://schemas.microsoft.com/office/drawing/2014/main" id="{E03B4EDE-F304-4DAC-8959-28646E95597A}"/>
              </a:ext>
            </a:extLst>
          </p:cNvPr>
          <p:cNvGraphicFramePr>
            <a:graphicFrameLocks noChangeAspect="1"/>
          </p:cNvGraphicFramePr>
          <p:nvPr>
            <p:extLst>
              <p:ext uri="{D42A27DB-BD31-4B8C-83A1-F6EECF244321}">
                <p14:modId xmlns:p14="http://schemas.microsoft.com/office/powerpoint/2010/main" val="2337467598"/>
              </p:ext>
            </p:extLst>
          </p:nvPr>
        </p:nvGraphicFramePr>
        <p:xfrm>
          <a:off x="1000323" y="1061792"/>
          <a:ext cx="10085255" cy="5066265"/>
        </p:xfrm>
        <a:graphic>
          <a:graphicData uri="http://schemas.openxmlformats.org/presentationml/2006/ole">
            <mc:AlternateContent xmlns:mc="http://schemas.openxmlformats.org/markup-compatibility/2006">
              <mc:Choice xmlns:v="urn:schemas-microsoft-com:vml" Requires="v">
                <p:oleObj name="Worksheet" r:id="rId8" imgW="13766701" imgH="6915084" progId="Excel.Sheet.12">
                  <p:embed/>
                </p:oleObj>
              </mc:Choice>
              <mc:Fallback>
                <p:oleObj name="Worksheet" r:id="rId8" imgW="13766701" imgH="6915084" progId="Excel.Sheet.12">
                  <p:embed/>
                  <p:pic>
                    <p:nvPicPr>
                      <p:cNvPr id="5" name="Objet 4">
                        <a:extLst>
                          <a:ext uri="{FF2B5EF4-FFF2-40B4-BE49-F238E27FC236}">
                            <a16:creationId xmlns:a16="http://schemas.microsoft.com/office/drawing/2014/main" id="{E03B4EDE-F304-4DAC-8959-28646E95597A}"/>
                          </a:ext>
                        </a:extLst>
                      </p:cNvPr>
                      <p:cNvPicPr/>
                      <p:nvPr/>
                    </p:nvPicPr>
                    <p:blipFill>
                      <a:blip r:embed="rId9"/>
                      <a:stretch>
                        <a:fillRect/>
                      </a:stretch>
                    </p:blipFill>
                    <p:spPr>
                      <a:xfrm>
                        <a:off x="1000323" y="1061792"/>
                        <a:ext cx="10085255" cy="5066265"/>
                      </a:xfrm>
                      <a:prstGeom prst="rect">
                        <a:avLst/>
                      </a:prstGeom>
                    </p:spPr>
                  </p:pic>
                </p:oleObj>
              </mc:Fallback>
            </mc:AlternateContent>
          </a:graphicData>
        </a:graphic>
      </p:graphicFrame>
    </p:spTree>
    <p:extLst>
      <p:ext uri="{BB962C8B-B14F-4D97-AF65-F5344CB8AC3E}">
        <p14:creationId xmlns:p14="http://schemas.microsoft.com/office/powerpoint/2010/main" val="86583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7387BF00-5B9D-4403-A3F3-153C68A44BC1}"/>
              </a:ext>
            </a:extLst>
          </p:cNvPr>
          <p:cNvGraphicFramePr>
            <a:graphicFrameLocks noChangeAspect="1"/>
          </p:cNvGraphicFramePr>
          <p:nvPr>
            <p:custDataLst>
              <p:tags r:id="rId1"/>
            </p:custDataLst>
            <p:extLst>
              <p:ext uri="{D42A27DB-BD31-4B8C-83A1-F6EECF244321}">
                <p14:modId xmlns:p14="http://schemas.microsoft.com/office/powerpoint/2010/main" val="3163615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4" imgH="344" progId="TCLayout.ActiveDocument.1">
                  <p:embed/>
                </p:oleObj>
              </mc:Choice>
              <mc:Fallback>
                <p:oleObj name="Diapositive think-cell" r:id="rId4" imgW="344" imgH="344" progId="TCLayout.ActiveDocument.1">
                  <p:embed/>
                  <p:pic>
                    <p:nvPicPr>
                      <p:cNvPr id="11" name="Objet 10" hidden="1">
                        <a:extLst>
                          <a:ext uri="{FF2B5EF4-FFF2-40B4-BE49-F238E27FC236}">
                            <a16:creationId xmlns:a16="http://schemas.microsoft.com/office/drawing/2014/main" id="{7387BF00-5B9D-4403-A3F3-153C68A44B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7CAAD1A-4DDC-49BE-9780-6C6022A8631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12" name="Titre 11">
            <a:extLst>
              <a:ext uri="{FF2B5EF4-FFF2-40B4-BE49-F238E27FC236}">
                <a16:creationId xmlns:a16="http://schemas.microsoft.com/office/drawing/2014/main" id="{7DA671E3-E682-4B30-8BFE-0AE634B1717E}"/>
              </a:ext>
            </a:extLst>
          </p:cNvPr>
          <p:cNvSpPr>
            <a:spLocks noGrp="1"/>
          </p:cNvSpPr>
          <p:nvPr>
            <p:ph type="title"/>
          </p:nvPr>
        </p:nvSpPr>
        <p:spPr/>
        <p:txBody>
          <a:bodyPr/>
          <a:lstStyle/>
          <a:p>
            <a:r>
              <a:rPr lang="fr-FR" dirty="0"/>
              <a:t>Tableau 2 : Nb d’avions livrés par mois</a:t>
            </a:r>
          </a:p>
        </p:txBody>
      </p:sp>
      <p:sp>
        <p:nvSpPr>
          <p:cNvPr id="6" name="Espace réservé du pied de page 5">
            <a:extLst>
              <a:ext uri="{FF2B5EF4-FFF2-40B4-BE49-F238E27FC236}">
                <a16:creationId xmlns:a16="http://schemas.microsoft.com/office/drawing/2014/main" id="{6CC6CF90-4490-47BC-B438-06C3F0707D03}"/>
              </a:ext>
            </a:extLst>
          </p:cNvPr>
          <p:cNvSpPr>
            <a:spLocks noGrp="1"/>
          </p:cNvSpPr>
          <p:nvPr>
            <p:ph type="ftr" sz="quarter" idx="15"/>
          </p:nvPr>
        </p:nvSpPr>
        <p:spPr>
          <a:xfrm>
            <a:off x="1103445" y="6347411"/>
            <a:ext cx="4560000" cy="440684"/>
          </a:xfrm>
        </p:spPr>
        <p:txBody>
          <a:bodyPr/>
          <a:lstStyle/>
          <a:p>
            <a:pPr algn="l"/>
            <a:r>
              <a:rPr lang="fr-FR"/>
              <a:t>Dashboard Marché Aéronautique - Nov/Dec 2021</a:t>
            </a:r>
            <a:endParaRPr lang="fr-FR" dirty="0"/>
          </a:p>
        </p:txBody>
      </p:sp>
      <p:sp>
        <p:nvSpPr>
          <p:cNvPr id="7" name="Espace réservé du numéro de diapositive 6">
            <a:extLst>
              <a:ext uri="{FF2B5EF4-FFF2-40B4-BE49-F238E27FC236}">
                <a16:creationId xmlns:a16="http://schemas.microsoft.com/office/drawing/2014/main" id="{4677E086-CC59-4E36-AB9B-BD096D1F93DA}"/>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7</a:t>
            </a:fld>
            <a:endParaRPr lang="fr-FR" dirty="0"/>
          </a:p>
        </p:txBody>
      </p:sp>
      <p:pic>
        <p:nvPicPr>
          <p:cNvPr id="13" name="Image 31">
            <a:extLst>
              <a:ext uri="{FF2B5EF4-FFF2-40B4-BE49-F238E27FC236}">
                <a16:creationId xmlns:a16="http://schemas.microsoft.com/office/drawing/2014/main" id="{FB0D4C9F-BFA7-477B-A44B-65C65F5A38A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graphicFrame>
        <p:nvGraphicFramePr>
          <p:cNvPr id="4" name="Objet 3">
            <a:extLst>
              <a:ext uri="{FF2B5EF4-FFF2-40B4-BE49-F238E27FC236}">
                <a16:creationId xmlns:a16="http://schemas.microsoft.com/office/drawing/2014/main" id="{E35346DD-30AD-4930-B2D4-8FE213778FB8}"/>
              </a:ext>
            </a:extLst>
          </p:cNvPr>
          <p:cNvGraphicFramePr>
            <a:graphicFrameLocks noChangeAspect="1"/>
          </p:cNvGraphicFramePr>
          <p:nvPr>
            <p:extLst>
              <p:ext uri="{D42A27DB-BD31-4B8C-83A1-F6EECF244321}">
                <p14:modId xmlns:p14="http://schemas.microsoft.com/office/powerpoint/2010/main" val="2538898633"/>
              </p:ext>
            </p:extLst>
          </p:nvPr>
        </p:nvGraphicFramePr>
        <p:xfrm>
          <a:off x="-6549" y="1968499"/>
          <a:ext cx="12198549" cy="3695303"/>
        </p:xfrm>
        <a:graphic>
          <a:graphicData uri="http://schemas.openxmlformats.org/presentationml/2006/ole">
            <mc:AlternateContent xmlns:mc="http://schemas.openxmlformats.org/markup-compatibility/2006">
              <mc:Choice xmlns:v="urn:schemas-microsoft-com:vml" Requires="v">
                <p:oleObj name="Worksheet" r:id="rId7" imgW="16135479" imgH="4886325" progId="Excel.Sheet.12">
                  <p:embed/>
                </p:oleObj>
              </mc:Choice>
              <mc:Fallback>
                <p:oleObj name="Worksheet" r:id="rId7" imgW="16135479" imgH="4886325" progId="Excel.Sheet.12">
                  <p:embed/>
                  <p:pic>
                    <p:nvPicPr>
                      <p:cNvPr id="4" name="Objet 3">
                        <a:extLst>
                          <a:ext uri="{FF2B5EF4-FFF2-40B4-BE49-F238E27FC236}">
                            <a16:creationId xmlns:a16="http://schemas.microsoft.com/office/drawing/2014/main" id="{E35346DD-30AD-4930-B2D4-8FE213778FB8}"/>
                          </a:ext>
                        </a:extLst>
                      </p:cNvPr>
                      <p:cNvPicPr/>
                      <p:nvPr/>
                    </p:nvPicPr>
                    <p:blipFill>
                      <a:blip r:embed="rId8"/>
                      <a:stretch>
                        <a:fillRect/>
                      </a:stretch>
                    </p:blipFill>
                    <p:spPr>
                      <a:xfrm>
                        <a:off x="-6549" y="1968499"/>
                        <a:ext cx="12198549" cy="3695303"/>
                      </a:xfrm>
                      <a:prstGeom prst="rect">
                        <a:avLst/>
                      </a:prstGeom>
                    </p:spPr>
                  </p:pic>
                </p:oleObj>
              </mc:Fallback>
            </mc:AlternateContent>
          </a:graphicData>
        </a:graphic>
      </p:graphicFrame>
    </p:spTree>
    <p:extLst>
      <p:ext uri="{BB962C8B-B14F-4D97-AF65-F5344CB8AC3E}">
        <p14:creationId xmlns:p14="http://schemas.microsoft.com/office/powerpoint/2010/main" val="4153218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46297289-D89A-4022-863D-9CAFB2B95032}"/>
              </a:ext>
            </a:extLst>
          </p:cNvPr>
          <p:cNvGraphicFramePr>
            <a:graphicFrameLocks noChangeAspect="1"/>
          </p:cNvGraphicFramePr>
          <p:nvPr>
            <p:custDataLst>
              <p:tags r:id="rId1"/>
            </p:custDataLst>
            <p:extLst>
              <p:ext uri="{D42A27DB-BD31-4B8C-83A1-F6EECF244321}">
                <p14:modId xmlns:p14="http://schemas.microsoft.com/office/powerpoint/2010/main" val="3370948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4" imgH="344" progId="TCLayout.ActiveDocument.1">
                  <p:embed/>
                </p:oleObj>
              </mc:Choice>
              <mc:Fallback>
                <p:oleObj name="Diapositive think-cell" r:id="rId4" imgW="344" imgH="344" progId="TCLayout.ActiveDocument.1">
                  <p:embed/>
                  <p:pic>
                    <p:nvPicPr>
                      <p:cNvPr id="11" name="Objet 10" hidden="1">
                        <a:extLst>
                          <a:ext uri="{FF2B5EF4-FFF2-40B4-BE49-F238E27FC236}">
                            <a16:creationId xmlns:a16="http://schemas.microsoft.com/office/drawing/2014/main" id="{46297289-D89A-4022-863D-9CAFB2B950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D7EA698-E32C-4816-AB17-1E3C0A14BA3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12" name="Titre 11">
            <a:extLst>
              <a:ext uri="{FF2B5EF4-FFF2-40B4-BE49-F238E27FC236}">
                <a16:creationId xmlns:a16="http://schemas.microsoft.com/office/drawing/2014/main" id="{1E85521E-3BC9-4E46-AD00-ECED7A465C32}"/>
              </a:ext>
            </a:extLst>
          </p:cNvPr>
          <p:cNvSpPr>
            <a:spLocks noGrp="1"/>
          </p:cNvSpPr>
          <p:nvPr>
            <p:ph type="title"/>
          </p:nvPr>
        </p:nvSpPr>
        <p:spPr/>
        <p:txBody>
          <a:bodyPr/>
          <a:lstStyle/>
          <a:p>
            <a:r>
              <a:rPr lang="fr-FR" dirty="0"/>
              <a:t>Tableau 3 : Nb d’avions commandés (et annulés) par mois</a:t>
            </a:r>
          </a:p>
        </p:txBody>
      </p:sp>
      <p:sp>
        <p:nvSpPr>
          <p:cNvPr id="6" name="Espace réservé du pied de page 5">
            <a:extLst>
              <a:ext uri="{FF2B5EF4-FFF2-40B4-BE49-F238E27FC236}">
                <a16:creationId xmlns:a16="http://schemas.microsoft.com/office/drawing/2014/main" id="{525995B7-B492-4831-8114-3A3724BB789F}"/>
              </a:ext>
            </a:extLst>
          </p:cNvPr>
          <p:cNvSpPr>
            <a:spLocks noGrp="1"/>
          </p:cNvSpPr>
          <p:nvPr>
            <p:ph type="ftr" sz="quarter" idx="15"/>
          </p:nvPr>
        </p:nvSpPr>
        <p:spPr>
          <a:xfrm>
            <a:off x="1149451" y="6347411"/>
            <a:ext cx="4560000" cy="440684"/>
          </a:xfrm>
        </p:spPr>
        <p:txBody>
          <a:bodyPr/>
          <a:lstStyle/>
          <a:p>
            <a:pPr algn="l"/>
            <a:r>
              <a:rPr lang="fr-FR"/>
              <a:t>Dashboard Marché Aéronautique - Nov/Dec 2021</a:t>
            </a:r>
            <a:endParaRPr lang="fr-FR" dirty="0"/>
          </a:p>
        </p:txBody>
      </p:sp>
      <p:sp>
        <p:nvSpPr>
          <p:cNvPr id="7" name="Espace réservé du numéro de diapositive 6">
            <a:extLst>
              <a:ext uri="{FF2B5EF4-FFF2-40B4-BE49-F238E27FC236}">
                <a16:creationId xmlns:a16="http://schemas.microsoft.com/office/drawing/2014/main" id="{66E228E0-F2C9-40BB-A5F1-B384425D6C03}"/>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8</a:t>
            </a:fld>
            <a:endParaRPr lang="fr-FR" dirty="0"/>
          </a:p>
        </p:txBody>
      </p:sp>
      <p:graphicFrame>
        <p:nvGraphicFramePr>
          <p:cNvPr id="4" name="Objet 3">
            <a:extLst>
              <a:ext uri="{FF2B5EF4-FFF2-40B4-BE49-F238E27FC236}">
                <a16:creationId xmlns:a16="http://schemas.microsoft.com/office/drawing/2014/main" id="{A95D82D4-799C-4E69-AB1F-D18C5C917A9E}"/>
              </a:ext>
            </a:extLst>
          </p:cNvPr>
          <p:cNvGraphicFramePr>
            <a:graphicFrameLocks noChangeAspect="1"/>
          </p:cNvGraphicFramePr>
          <p:nvPr>
            <p:extLst>
              <p:ext uri="{D42A27DB-BD31-4B8C-83A1-F6EECF244321}">
                <p14:modId xmlns:p14="http://schemas.microsoft.com/office/powerpoint/2010/main" val="3507363215"/>
              </p:ext>
            </p:extLst>
          </p:nvPr>
        </p:nvGraphicFramePr>
        <p:xfrm>
          <a:off x="-24253" y="2056454"/>
          <a:ext cx="12216253" cy="2798762"/>
        </p:xfrm>
        <a:graphic>
          <a:graphicData uri="http://schemas.openxmlformats.org/presentationml/2006/ole">
            <mc:AlternateContent xmlns:mc="http://schemas.openxmlformats.org/markup-compatibility/2006">
              <mc:Choice xmlns:v="urn:schemas-microsoft-com:vml" Requires="v">
                <p:oleObj name="Worksheet" r:id="rId6" imgW="21993074" imgH="5038840" progId="Excel.Sheet.12">
                  <p:embed/>
                </p:oleObj>
              </mc:Choice>
              <mc:Fallback>
                <p:oleObj name="Worksheet" r:id="rId6" imgW="21993074" imgH="5038840" progId="Excel.Sheet.12">
                  <p:embed/>
                  <p:pic>
                    <p:nvPicPr>
                      <p:cNvPr id="4" name="Objet 3">
                        <a:extLst>
                          <a:ext uri="{FF2B5EF4-FFF2-40B4-BE49-F238E27FC236}">
                            <a16:creationId xmlns:a16="http://schemas.microsoft.com/office/drawing/2014/main" id="{A95D82D4-799C-4E69-AB1F-D18C5C917A9E}"/>
                          </a:ext>
                        </a:extLst>
                      </p:cNvPr>
                      <p:cNvPicPr/>
                      <p:nvPr/>
                    </p:nvPicPr>
                    <p:blipFill>
                      <a:blip r:embed="rId7"/>
                      <a:stretch>
                        <a:fillRect/>
                      </a:stretch>
                    </p:blipFill>
                    <p:spPr>
                      <a:xfrm>
                        <a:off x="-24253" y="2056454"/>
                        <a:ext cx="12216253" cy="2798762"/>
                      </a:xfrm>
                      <a:prstGeom prst="rect">
                        <a:avLst/>
                      </a:prstGeom>
                    </p:spPr>
                  </p:pic>
                </p:oleObj>
              </mc:Fallback>
            </mc:AlternateContent>
          </a:graphicData>
        </a:graphic>
      </p:graphicFrame>
    </p:spTree>
    <p:extLst>
      <p:ext uri="{BB962C8B-B14F-4D97-AF65-F5344CB8AC3E}">
        <p14:creationId xmlns:p14="http://schemas.microsoft.com/office/powerpoint/2010/main" val="19049572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B56FB8D4-6CD3-4855-9504-D34C48199A11}"/>
              </a:ext>
            </a:extLst>
          </p:cNvPr>
          <p:cNvGraphicFramePr>
            <a:graphicFrameLocks noChangeAspect="1"/>
          </p:cNvGraphicFramePr>
          <p:nvPr>
            <p:custDataLst>
              <p:tags r:id="rId1"/>
            </p:custDataLst>
            <p:extLst>
              <p:ext uri="{D42A27DB-BD31-4B8C-83A1-F6EECF244321}">
                <p14:modId xmlns:p14="http://schemas.microsoft.com/office/powerpoint/2010/main" val="2765750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4" imgH="344" progId="TCLayout.ActiveDocument.1">
                  <p:embed/>
                </p:oleObj>
              </mc:Choice>
              <mc:Fallback>
                <p:oleObj name="Diapositive think-cell" r:id="rId4" imgW="344" imgH="344" progId="TCLayout.ActiveDocument.1">
                  <p:embed/>
                  <p:pic>
                    <p:nvPicPr>
                      <p:cNvPr id="11" name="Objet 10" hidden="1">
                        <a:extLst>
                          <a:ext uri="{FF2B5EF4-FFF2-40B4-BE49-F238E27FC236}">
                            <a16:creationId xmlns:a16="http://schemas.microsoft.com/office/drawing/2014/main" id="{B56FB8D4-6CD3-4855-9504-D34C48199A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335AC3-6BAB-4119-A38E-88A1480EB1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12" name="Titre 11">
            <a:extLst>
              <a:ext uri="{FF2B5EF4-FFF2-40B4-BE49-F238E27FC236}">
                <a16:creationId xmlns:a16="http://schemas.microsoft.com/office/drawing/2014/main" id="{3F6C8516-1C37-4F88-9BE5-EC9DFD5E9210}"/>
              </a:ext>
            </a:extLst>
          </p:cNvPr>
          <p:cNvSpPr>
            <a:spLocks noGrp="1"/>
          </p:cNvSpPr>
          <p:nvPr>
            <p:ph type="title"/>
          </p:nvPr>
        </p:nvSpPr>
        <p:spPr/>
        <p:txBody>
          <a:bodyPr/>
          <a:lstStyle/>
          <a:p>
            <a:r>
              <a:rPr lang="fr-FR" dirty="0"/>
              <a:t>Tableau 4 : Evolution du carnet de commandes Airbus/Boeing </a:t>
            </a:r>
          </a:p>
        </p:txBody>
      </p:sp>
      <p:sp>
        <p:nvSpPr>
          <p:cNvPr id="6" name="Espace réservé du pied de page 5">
            <a:extLst>
              <a:ext uri="{FF2B5EF4-FFF2-40B4-BE49-F238E27FC236}">
                <a16:creationId xmlns:a16="http://schemas.microsoft.com/office/drawing/2014/main" id="{9D22DD85-AC81-4544-86A0-A27E8C74E4B0}"/>
              </a:ext>
            </a:extLst>
          </p:cNvPr>
          <p:cNvSpPr>
            <a:spLocks noGrp="1"/>
          </p:cNvSpPr>
          <p:nvPr>
            <p:ph type="ftr" sz="quarter" idx="15"/>
          </p:nvPr>
        </p:nvSpPr>
        <p:spPr>
          <a:xfrm>
            <a:off x="1149451" y="6347411"/>
            <a:ext cx="4560000" cy="440684"/>
          </a:xfrm>
        </p:spPr>
        <p:txBody>
          <a:bodyPr/>
          <a:lstStyle/>
          <a:p>
            <a:pPr algn="l"/>
            <a:r>
              <a:rPr lang="fr-FR"/>
              <a:t>Dashboard Marché Aéronautique - Nov/Dec 2021</a:t>
            </a:r>
            <a:endParaRPr lang="fr-FR" dirty="0"/>
          </a:p>
        </p:txBody>
      </p:sp>
      <p:sp>
        <p:nvSpPr>
          <p:cNvPr id="7" name="Espace réservé du numéro de diapositive 6">
            <a:extLst>
              <a:ext uri="{FF2B5EF4-FFF2-40B4-BE49-F238E27FC236}">
                <a16:creationId xmlns:a16="http://schemas.microsoft.com/office/drawing/2014/main" id="{5DE35B5E-9114-4913-9822-486992F22539}"/>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9</a:t>
            </a:fld>
            <a:endParaRPr lang="fr-FR" dirty="0"/>
          </a:p>
        </p:txBody>
      </p:sp>
      <p:pic>
        <p:nvPicPr>
          <p:cNvPr id="16" name="Image 31">
            <a:extLst>
              <a:ext uri="{FF2B5EF4-FFF2-40B4-BE49-F238E27FC236}">
                <a16:creationId xmlns:a16="http://schemas.microsoft.com/office/drawing/2014/main" id="{D316BC77-F9F1-4536-AE08-A90F6E4C7F1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pic>
        <p:nvPicPr>
          <p:cNvPr id="3" name="Image 2">
            <a:extLst>
              <a:ext uri="{FF2B5EF4-FFF2-40B4-BE49-F238E27FC236}">
                <a16:creationId xmlns:a16="http://schemas.microsoft.com/office/drawing/2014/main" id="{1276A2A8-42F3-4DD5-B692-97CE4A9A7738}"/>
              </a:ext>
            </a:extLst>
          </p:cNvPr>
          <p:cNvPicPr>
            <a:picLocks noChangeAspect="1"/>
          </p:cNvPicPr>
          <p:nvPr/>
        </p:nvPicPr>
        <p:blipFill>
          <a:blip r:embed="rId7"/>
          <a:stretch>
            <a:fillRect/>
          </a:stretch>
        </p:blipFill>
        <p:spPr>
          <a:xfrm>
            <a:off x="0" y="1901708"/>
            <a:ext cx="12192000" cy="3054583"/>
          </a:xfrm>
          <a:prstGeom prst="rect">
            <a:avLst/>
          </a:prstGeom>
        </p:spPr>
      </p:pic>
    </p:spTree>
    <p:extLst>
      <p:ext uri="{BB962C8B-B14F-4D97-AF65-F5344CB8AC3E}">
        <p14:creationId xmlns:p14="http://schemas.microsoft.com/office/powerpoint/2010/main" val="17424613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DIVIDERS_STYLE_TAG" val="POWER_USER_LAYOUT_DIVIDER"/>
  <p:tag name="POWER_USER_PPT_AGENDA_PRESENTATION_COLOR_TAG" val="#FBF315"/>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 name="THINKCELLPRESENTATIONDONOTDELETE" val="&lt;?xml version=&quot;1.0&quot; encoding=&quot;UTF-16&quot; standalone=&quot;yes&quot;?&gt;&lt;root reqver=&quot;27037&quot;&gt;&lt;version val=&quot;30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2.36609999999999986997E+00&quot;&gt;&lt;m_msothmcolidx val=&quot;0&quot;/&gt;&lt;m_rgb r=&quot;44&quot; g=&quot;54&quot; b=&quot;6A&quot;/&gt;&lt;/elem&gt;&lt;elem m_fUsage=&quot;1.80002107073961026273E+00&quot;&gt;&lt;m_msothmcolidx val=&quot;0&quot;/&gt;&lt;m_rgb r=&quot;CE&quot; g=&quot;D0&quot; b=&quot;E1&quot;/&gt;&lt;/elem&gt;&lt;elem m_fUsage=&quot;1.65854711931390008672E+00&quot;&gt;&lt;m_msothmcolidx val=&quot;0&quot;/&gt;&lt;m_rgb r=&quot;FD&quot; g=&quot;C1&quot; b=&quot;A1&quot;/&gt;&lt;/elem&gt;&lt;elem m_fUsage=&quot;1.00000000000000000000E+00&quot;&gt;&lt;m_msothmcolidx val=&quot;0&quot;/&gt;&lt;m_rgb r=&quot;B6&quot; g=&quot;B8&quot; b=&quot;D1&quot;/&gt;&lt;/elem&gt;&lt;elem m_fUsage=&quot;7.29000000000000092371E-01&quot;&gt;&lt;m_msothmcolidx val=&quot;0&quot;/&gt;&lt;m_rgb r=&quot;3C&quot; g=&quot;3F&quot; b=&quot;60&quot;/&gt;&lt;/elem&gt;&lt;elem m_fUsage=&quot;3.87420489000000145552E-01&quot;&gt;&lt;m_msothmcolidx val=&quot;0&quot;/&gt;&lt;m_rgb r=&quot;5A&quot; g=&quot;5F&quot; b=&quot;90&quot;/&gt;&lt;/elem&gt;&lt;elem m_fUsage=&quot;2.05891132094649098594E-01&quot;&gt;&lt;m_msothmcolidx val=&quot;0&quot;/&gt;&lt;m_rgb r=&quot;47&quot; g=&quot;4C&quot; b=&quot;82&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KGbg7IABN0lxp1M4uz42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YAbTk8JSxveMVLEI4tCh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QwvgxrdcnN80oaPifVs4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IzFBUjP7vAaDMx7g5s3tR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ROwKbcsHA8qE0PyNb6rT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WrGxFiwPhyzVdi2iMsam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k4owzGE2h51st_vAotzN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vlzW5U0rqHnI4pfy_En7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DO1DgE8vDzAzBv1LTrn1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TtZxd.U7lrhIcXOrCpU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frwL4dU2NDgvvUO_DJE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7cJRZ1OoljkpMH4icx_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kjMyG0eQ6dy7V8SUEikIy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49E5PzBgNqU7yXSyVR7Vm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ziZr8HH0fJTEw7ZH2dZfw"/>
</p:tagLst>
</file>

<file path=ppt/tags/tag115.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buI4kgGX4pJ1ZI8v9X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SeYcfAC0_s4_1Bler8w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MCm6ibuuJ0A_zoGu44.X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1_nEq7R4.V1.gWnHMgoN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ZNGpjgE5BDd1u0Dl_yJPXA"/>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41B76E3_43A8_426A_B1C6_B93805A1E11F&quot;,&quot;SourceFullName&quot;:&quot;https://erametgroup-my.sharepoint.com/personal/sandrine_provenchere_eramet_com/Documents/06_DASHBOARD/Dashboard-Suivi-Mensuel-Aero/Nausicaa/Deck_Trafic-Aero.xlsx&quot;,&quot;LastUpdate&quot;:&quot;2022-01-12 10:14 AM&quot;,&quot;UpdatedBy&quot;:&quot;sandrine.provenchere&quot;,&quot;IsLinked&quot;:false,&quot;IsBrokenLink&quot;:false,&quot;Type&quot;:1}"/>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5BD8EAF_F514_42F1_B382_E4E05291745A&quot;,&quot;SourceFullName&quot;:&quot;Classeur3&quot;,&quot;LastUpdate&quot;:&quot;2022-01-12 10:48 AM&quot;,&quot;UpdatedBy&quot;:&quot;sandrine.provenchere&quot;,&quot;IsLinked&quot;:false,&quot;IsBrokenLink&quot;:false,&quot;Type&quot;:1}"/>
</p:tagLst>
</file>

<file path=ppt/tags/tag15.xml><?xml version="1.0" encoding="utf-8"?>
<p:tagLst xmlns:a="http://schemas.openxmlformats.org/drawingml/2006/main" xmlns:r="http://schemas.openxmlformats.org/officeDocument/2006/relationships" xmlns:p="http://schemas.openxmlformats.org/presentationml/2006/main">
  <p:tag name="POWER_USER_ID_TEMPLATES" val="Dashboard_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2DjobRa9EhnWagM7rxI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5EYAQFqdvDnBR38AOJj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RSdk3aVWJLmj83Xj4LP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fRwD3pUx0yq4b.lMaYyL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RVnwbDusQKb2g21nbxT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vfqXZOQn0fEOmJ6DAtL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lkXXYJ.LXUysXS.Acvf1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mvQ.ieuppO8du0OLeYb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Rl4Jbs8OXyQqO3keumD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7zdg3esHNyKT5IpA87A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86RHhtrT_IH.fk5OSmTk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4kGcSJiMf7UKHNMYlIg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Gxo7AWda4pt_z7gmuza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_tXG0NwWKjLdGYR40r3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OW.b7K4UTftk73.DBwE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dE70q9hJqRbcZ6A962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NkEDOG.I1edpKAEtsUt3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q7VsyJ9W.YZJbdm8t0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IqcAlnggTm1LRW5GArr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jsseQ1u_wjYAqMAZNxi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n0cjN4FjEVH3Vc..2xO6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p63FM7B.XYxSareGmQdr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I.bDdewJXJbS_kBmx9I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JtFAgrsYNa1jZBeDQWuz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hrkpxhurUzfVstWWWRiX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DA72u0Uwz8MLspnQLu34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3qY9ZBu6kARNlDvnS8k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UFQiZu3lYMSpp4aqR.z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ezud_HSzUruWsMW6UVcG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VIL89Q6QUQP_zX1vZdI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rJLt2CqGlpCq34SREDIr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9J56vnG1Mr6mzQfDAYL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g9FH9fEh.uhVooaKJQC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t1HvnuqELUl_oh2pkRnpA"/>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0kTOkGoVZ31cpAULReV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IKbrKUBN8QXGirvQbLo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E_hflqCW3_dFgmNQEn_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VrZhIJF.nmJumUt_J.Cq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pcrUj4jl47apFNnPrSzL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jKEXR7U2xIyUGhw07Yx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YUAIbPjBjRz0DZS2Is30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JH8Xc4L4lhnJGoLxXu2_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kREWYtzpyRgoy4OJTuv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xp1DnJE4xlLNLP61cHJ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GW2r8eBhSHQJ4KXWI0r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6HbTKdC3g7N3eDzCbEmq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dE70q9hJqRbcZ6A962g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NkEDOG.I1edpKAEtsUt3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q7VsyJ9W.YZJbdm8t0q.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IqcAlnggTm1LRW5GArr_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jsseQ1u_wjYAqMAZNxic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n0cjN4FjEVH3Vc..2xO6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p63FM7B.XYxSareGmQdr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I.bDdewJXJbS_kBmx9I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hrkpxhurUzfVstWWWRiX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DA72u0Uwz8MLspnQLu34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3qY9ZBu6kARNlDvnS8k0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UFQiZu3lYMSpp4aqR.zf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ezud_HSzUruWsMW6UVcGg"/>
</p:tagLst>
</file>

<file path=ppt/tags/tag7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200CC53_121C_43E2_A4B9_ED7C71E88196&quot;,&quot;SourceFullName&quot;:&quot;https://erametgroup-my.sharepoint.com/personal/sandrine_provenchere_eramet_com/Documents/06_DASHBOARD/Dashboard-Suivi-Mensuel-Aero/DASHBOARD/2021/2021_Dashboard_marché-AERO.xlsx&quot;,&quot;LastUpdate&quot;:&quot;2022-01-12 9:48 AM&quot;,&quot;UpdatedBy&quot;:&quot;sandrine.provenchere&quot;,&quot;IsLinked&quot;:false,&quot;IsBrokenLink&quot;:false,&quot;Type&quot;:1}"/>
</p:tagLst>
</file>

<file path=ppt/tags/tag7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A1B0774_3469_4B88_820A_5A07956A68DC&quot;,&quot;SourceFullName&quot;:&quot;https://erametgroup-my.sharepoint.com/personal/sandrine_provenchere_eramet_com/Documents/06_DASHBOARD/Dashboard-Suivi-Mensuel-Aero/DASHBOARD/2021/2021_Dashboard_marché-AERO.xlsx&quot;,&quot;LastUpdate&quot;:&quot;2022-01-12 9:50 AM&quot;,&quot;UpdatedBy&quot;:&quot;sandrine.provenchere&quot;,&quot;IsLinked&quot;:false,&quot;IsBrokenLink&quot;:false,&quot;Type&quot;: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szEoVgM18IbToRMSWqt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Em9_4gt8sdkFmNjcUUDl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G1joY1.cQvY1wrRP.My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YP5jEqWZaMfHIaNTRnrt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sQkTPCrrQZDQoBxbPcNC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kFIxEe0xNYFstyqJ_57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GIDCxPFh_K1rVV4M_k2L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d4c8YtZe3pnXZH8KO.Jo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rxfI0HbEPOCrEpv7CrqT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s7zmql3qBXl.iK3GT4XH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UV1miFJOd6eE7j30ULv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Gs_hC4gH8A2zxbpI9fzO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91HDAcIJyrkQpsduz2c0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PQK1SWAmoiyaXjRpnncA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Hmi2npsQTMgYnj3l2U_o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t.wLExhF5ZlfkInVcFQJ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3wGROB8TpLTOwpQGNmn_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KvROotqri0clbxqFMBtk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1bTEsUutV4n7mv4HsNom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_.JIUhJmjYzuzrtdZaM1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diK01dYwjTbmCF2u1HT7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iZwW_SZqqgO0sNenw4XBg"/>
</p:tagLst>
</file>

<file path=ppt/theme/theme1.xml><?xml version="1.0" encoding="utf-8"?>
<a:theme xmlns:a="http://schemas.openxmlformats.org/drawingml/2006/main" name="Default Theme">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Default Theme" id="{2E9707B0-AFAD-4E37-83B2-65E56D92304B}" vid="{56E404CF-8FED-452B-B090-8A2F0CF3A5F2}"/>
    </a:ext>
  </a:extLst>
</a:theme>
</file>

<file path=ppt/theme/theme2.xml><?xml version="1.0" encoding="utf-8"?>
<a:theme xmlns:a="http://schemas.openxmlformats.org/drawingml/2006/main" name="1_AUBERT&amp;DUVAL">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869ED258-25C0-47E6-944C-BF97BD6B4D0D}"/>
    </a:ext>
  </a:extLst>
</a:theme>
</file>

<file path=ppt/theme/theme3.xml><?xml version="1.0" encoding="utf-8"?>
<a:theme xmlns:a="http://schemas.openxmlformats.org/drawingml/2006/main" name="2_ERASTEEL">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54DB7B35-2F85-4150-AA57-186F44BF3FE3}"/>
    </a:ext>
  </a:extLst>
</a:theme>
</file>

<file path=ppt/theme/theme4.xml><?xml version="1.0" encoding="utf-8"?>
<a:theme xmlns:a="http://schemas.openxmlformats.org/drawingml/2006/main" name="3_AD+ES">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5278248A-07DD-46FD-9847-6640A84025F1}"/>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5A1912B6E11934E8B096E7A522338B1" ma:contentTypeVersion="13" ma:contentTypeDescription="Crée un document." ma:contentTypeScope="" ma:versionID="0df7c930c89d9d3ded91cb53357a94ff">
  <xsd:schema xmlns:xsd="http://www.w3.org/2001/XMLSchema" xmlns:xs="http://www.w3.org/2001/XMLSchema" xmlns:p="http://schemas.microsoft.com/office/2006/metadata/properties" xmlns:ns3="fb1e9980-ab61-411d-9d15-db2b543af212" xmlns:ns4="e2436d64-00a3-42ad-a3b6-20599c347650" targetNamespace="http://schemas.microsoft.com/office/2006/metadata/properties" ma:root="true" ma:fieldsID="7ead3512816d8b38e985b854c6afc7d7" ns3:_="" ns4:_="">
    <xsd:import namespace="fb1e9980-ab61-411d-9d15-db2b543af212"/>
    <xsd:import namespace="e2436d64-00a3-42ad-a3b6-20599c347650"/>
    <xsd:element name="properties">
      <xsd:complexType>
        <xsd:sequence>
          <xsd:element name="documentManagement">
            <xsd:complexType>
              <xsd:all>
                <xsd:element ref="ns3:MediaServiceMetadata" minOccurs="0"/>
                <xsd:element ref="ns3:MediaServiceFastMetadata" minOccurs="0"/>
                <xsd:element ref="ns3:MediaServiceEventHashCode" minOccurs="0"/>
                <xsd:element ref="ns3:MediaServiceGenerationTime" minOccurs="0"/>
                <xsd:element ref="ns3:MediaServiceAutoTags"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1e9980-ab61-411d-9d15-db2b543af21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2436d64-00a3-42ad-a3b6-20599c347650" elementFormDefault="qualified">
    <xsd:import namespace="http://schemas.microsoft.com/office/2006/documentManagement/types"/>
    <xsd:import namespace="http://schemas.microsoft.com/office/infopath/2007/PartnerControls"/>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element name="SharingHintHash" ma:index="18" nillable="true" ma:displayName="Partage du hachage d’indicateu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9995CE4-F737-4594-ACCE-445701F6A657}">
  <ds:schemaRefs>
    <ds:schemaRef ds:uri="http://schemas.microsoft.com/sharepoint/v3/contenttype/forms"/>
  </ds:schemaRefs>
</ds:datastoreItem>
</file>

<file path=customXml/itemProps2.xml><?xml version="1.0" encoding="utf-8"?>
<ds:datastoreItem xmlns:ds="http://schemas.openxmlformats.org/officeDocument/2006/customXml" ds:itemID="{92184442-010F-49E8-8B05-6B1B7C524E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1e9980-ab61-411d-9d15-db2b543af212"/>
    <ds:schemaRef ds:uri="e2436d64-00a3-42ad-a3b6-20599c3476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E71A55-4BCE-4434-ADC6-C93C5A390AE7}">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fb1e9980-ab61-411d-9d15-db2b543af212"/>
    <ds:schemaRef ds:uri="http://purl.org/dc/terms/"/>
    <ds:schemaRef ds:uri="http://schemas.openxmlformats.org/package/2006/metadata/core-properties"/>
    <ds:schemaRef ds:uri="e2436d64-00a3-42ad-a3b6-20599c34765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7827</TotalTime>
  <Words>1189</Words>
  <Application>Microsoft Office PowerPoint</Application>
  <PresentationFormat>Grand écran</PresentationFormat>
  <Paragraphs>241</Paragraphs>
  <Slides>10</Slides>
  <Notes>2</Notes>
  <HiddenSlides>0</HiddenSlides>
  <MMClips>0</MMClips>
  <ScaleCrop>false</ScaleCrop>
  <HeadingPairs>
    <vt:vector size="8" baseType="variant">
      <vt:variant>
        <vt:lpstr>Polices utilisées</vt:lpstr>
      </vt:variant>
      <vt:variant>
        <vt:i4>3</vt:i4>
      </vt:variant>
      <vt:variant>
        <vt:lpstr>Thème</vt:lpstr>
      </vt:variant>
      <vt:variant>
        <vt:i4>4</vt:i4>
      </vt:variant>
      <vt:variant>
        <vt:lpstr>Serveurs OLE incorporés</vt:lpstr>
      </vt:variant>
      <vt:variant>
        <vt:i4>3</vt:i4>
      </vt:variant>
      <vt:variant>
        <vt:lpstr>Titres des diapositives</vt:lpstr>
      </vt:variant>
      <vt:variant>
        <vt:i4>10</vt:i4>
      </vt:variant>
    </vt:vector>
  </HeadingPairs>
  <TitlesOfParts>
    <vt:vector size="20" baseType="lpstr">
      <vt:lpstr>Arial</vt:lpstr>
      <vt:lpstr>Calibri</vt:lpstr>
      <vt:lpstr>Wingdings</vt:lpstr>
      <vt:lpstr>Default Theme</vt:lpstr>
      <vt:lpstr>1_AUBERT&amp;DUVAL</vt:lpstr>
      <vt:lpstr>2_ERASTEEL</vt:lpstr>
      <vt:lpstr>3_AD+ES</vt:lpstr>
      <vt:lpstr>Diapositive think-cell</vt:lpstr>
      <vt:lpstr>Worksheet</vt:lpstr>
      <vt:lpstr>Feuille de calcul Microsoft Excel</vt:lpstr>
      <vt:lpstr>DASHBOARD MARCHE AERONAUTIQUE</vt:lpstr>
      <vt:lpstr>Faits Marquants</vt:lpstr>
      <vt:lpstr>Dashboard Trafic Aérien Novembre-Décembre</vt:lpstr>
      <vt:lpstr>Dashboard Airbus/Boeing Novembre - Décembre</vt:lpstr>
      <vt:lpstr>Prévisions des cadences de production</vt:lpstr>
      <vt:lpstr>Tableau 1 : Cadence moyenne mensuelle FAL </vt:lpstr>
      <vt:lpstr>Tableau 2 : Nb d’avions livrés par mois</vt:lpstr>
      <vt:lpstr>Tableau 3 : Nb d’avions commandés (et annulés) par mois</vt:lpstr>
      <vt:lpstr>Tableau 4 : Evolution du carnet de commandes Airbus/Boeing </vt:lpstr>
      <vt:lpstr>Tableau 5 : Nb d’avions produits non-livré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ROVENCHERE Sandrine</dc:creator>
  <cp:lastModifiedBy>PROVENCHERE Sandrine</cp:lastModifiedBy>
  <cp:revision>118</cp:revision>
  <dcterms:created xsi:type="dcterms:W3CDTF">2020-09-09T09:18:45Z</dcterms:created>
  <dcterms:modified xsi:type="dcterms:W3CDTF">2022-01-12T09:5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A1912B6E11934E8B096E7A522338B1</vt:lpwstr>
  </property>
</Properties>
</file>